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8326" r:id="rId2"/>
    <p:sldMasterId id="2147483660" r:id="rId3"/>
  </p:sldMasterIdLst>
  <p:notesMasterIdLst>
    <p:notesMasterId r:id="rId51"/>
  </p:notesMasterIdLst>
  <p:sldIdLst>
    <p:sldId id="256" r:id="rId4"/>
    <p:sldId id="958" r:id="rId5"/>
    <p:sldId id="929" r:id="rId6"/>
    <p:sldId id="272" r:id="rId7"/>
    <p:sldId id="880" r:id="rId8"/>
    <p:sldId id="952" r:id="rId9"/>
    <p:sldId id="904" r:id="rId10"/>
    <p:sldId id="959" r:id="rId11"/>
    <p:sldId id="905" r:id="rId12"/>
    <p:sldId id="950" r:id="rId13"/>
    <p:sldId id="906" r:id="rId14"/>
    <p:sldId id="942" r:id="rId15"/>
    <p:sldId id="918" r:id="rId16"/>
    <p:sldId id="919" r:id="rId17"/>
    <p:sldId id="949" r:id="rId18"/>
    <p:sldId id="951" r:id="rId19"/>
    <p:sldId id="944" r:id="rId20"/>
    <p:sldId id="907" r:id="rId21"/>
    <p:sldId id="947" r:id="rId22"/>
    <p:sldId id="940" r:id="rId23"/>
    <p:sldId id="911" r:id="rId24"/>
    <p:sldId id="962" r:id="rId25"/>
    <p:sldId id="960" r:id="rId26"/>
    <p:sldId id="913" r:id="rId27"/>
    <p:sldId id="914" r:id="rId28"/>
    <p:sldId id="915" r:id="rId29"/>
    <p:sldId id="961" r:id="rId30"/>
    <p:sldId id="933" r:id="rId31"/>
    <p:sldId id="935" r:id="rId32"/>
    <p:sldId id="945" r:id="rId33"/>
    <p:sldId id="934" r:id="rId34"/>
    <p:sldId id="930" r:id="rId35"/>
    <p:sldId id="964" r:id="rId36"/>
    <p:sldId id="966" r:id="rId37"/>
    <p:sldId id="920" r:id="rId38"/>
    <p:sldId id="963" r:id="rId39"/>
    <p:sldId id="956" r:id="rId40"/>
    <p:sldId id="957" r:id="rId41"/>
    <p:sldId id="922" r:id="rId42"/>
    <p:sldId id="955" r:id="rId43"/>
    <p:sldId id="931" r:id="rId44"/>
    <p:sldId id="883" r:id="rId45"/>
    <p:sldId id="881" r:id="rId46"/>
    <p:sldId id="298" r:id="rId47"/>
    <p:sldId id="882" r:id="rId48"/>
    <p:sldId id="884" r:id="rId49"/>
    <p:sldId id="948" r:id="rId50"/>
  </p:sldIdLst>
  <p:sldSz cx="12192000" cy="6858000"/>
  <p:notesSz cx="6858000" cy="9144000"/>
  <p:embeddedFontLst>
    <p:embeddedFont>
      <p:font typeface="DM Sans" pitchFamily="2" charset="77"/>
      <p:regular r:id="rId52"/>
      <p:bold r:id="rId53"/>
      <p:italic r:id="rId54"/>
      <p:boldItalic r:id="rId55"/>
    </p:embeddedFont>
    <p:embeddedFont>
      <p:font typeface="Dreaming Outloud Script Pro" panose="03050502040304050704" pitchFamily="66" charset="77"/>
      <p:regular r:id="rId56"/>
      <p:italic r:id="rId57"/>
    </p:embeddedFont>
    <p:embeddedFont>
      <p:font typeface="Helvetica Neue" panose="02000503000000020004" pitchFamily="2" charset="0"/>
      <p:regular r:id="rId58"/>
      <p:bold r:id="rId59"/>
      <p:italic r:id="rId60"/>
      <p:boldItalic r:id="rId61"/>
    </p:embeddedFont>
    <p:embeddedFont>
      <p:font typeface="Roboto Bold" panose="02000000000000000000" pitchFamily="2" charset="0"/>
      <p:bold r:id="rId62"/>
    </p:embeddedFont>
    <p:embeddedFont>
      <p:font typeface="Verdana" panose="020B0604030504040204" pitchFamily="34" charset="0"/>
      <p:regular r:id="rId63"/>
      <p:bold r:id="rId64"/>
      <p:italic r:id="rId65"/>
      <p:boldItalic r:id="rId6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75" roundtripDataSignature="AMtx7mimjdwnJgwvc70Q1pkdBGfh5nJqbg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1E8E1CE-C373-4BDB-0D3F-F84FE1DA86D4}" name="Eileen Fleming Suse" initials="ES" userId="S::efs3844@ads.northwestern.edu::725c94ef-d051-42d7-9d33-8572765d592b" providerId="AD"/>
  <p188:author id="{DF5B53E3-A221-A2A8-C7FF-6EE32788C770}" name="Justin Josephsen" initials="JJ" userId="S::justin.josephsen_health.slu.edu#ext#@nuwildcat.onmicrosoft.com::67ef2799-0941-4386-9c0f-d763995e37ab" providerId="AD"/>
  <p188:author id="{1BCA7BFC-F11C-3E9E-95B3-FA7A4B2C0B61}" name="Kiela Karina Moreno" initials="KM" userId="S::mpg7143@ads.northwestern.edu::1e897b35-0dd4-497a-9ab7-7a37e6c39d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803158"/>
    <a:srgbClr val="26487E"/>
    <a:srgbClr val="3966C9"/>
    <a:srgbClr val="C55FD2"/>
    <a:srgbClr val="7B96E8"/>
    <a:srgbClr val="ED1A19"/>
    <a:srgbClr val="FFD966"/>
    <a:srgbClr val="C45ED1"/>
    <a:srgbClr val="F2F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C43BD7-B3B4-584F-4C84-4734EF1C02D9}" v="58" dt="2024-05-28T15:39:01.434"/>
  </p1510:revLst>
</p1510:revInfo>
</file>

<file path=ppt/tableStyles.xml><?xml version="1.0" encoding="utf-8"?>
<a:tblStyleLst xmlns:a="http://schemas.openxmlformats.org/drawingml/2006/main" def="{54F6CA54-B8C3-46ED-81D4-EE1F6DEA3F7B}">
  <a:tblStyle styleId="{54F6CA54-B8C3-46ED-81D4-EE1F6DEA3F7B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DECEA"/>
          </a:solidFill>
        </a:fill>
      </a:tcStyle>
    </a:wholeTbl>
    <a:band1H>
      <a:tcTxStyle b="off" i="off"/>
      <a:tcStyle>
        <a:tcBdr/>
        <a:fill>
          <a:solidFill>
            <a:srgbClr val="FBD8D2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FBD8D2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3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3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65298"/>
  </p:normalViewPr>
  <p:slideViewPr>
    <p:cSldViewPr snapToGrid="0">
      <p:cViewPr varScale="1">
        <p:scale>
          <a:sx n="67" d="100"/>
          <a:sy n="67" d="100"/>
        </p:scale>
        <p:origin x="22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63" Type="http://schemas.openxmlformats.org/officeDocument/2006/relationships/font" Target="fonts/font12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font" Target="fonts/font2.fntdata"/><Relationship Id="rId58" Type="http://schemas.openxmlformats.org/officeDocument/2006/relationships/font" Target="fonts/font7.fntdata"/><Relationship Id="rId66" Type="http://schemas.openxmlformats.org/officeDocument/2006/relationships/font" Target="fonts/font15.fntdata"/><Relationship Id="rId79" Type="http://schemas.openxmlformats.org/officeDocument/2006/relationships/tableStyles" Target="tableStyles.xml"/><Relationship Id="rId5" Type="http://schemas.openxmlformats.org/officeDocument/2006/relationships/slide" Target="slides/slide2.xml"/><Relationship Id="rId61" Type="http://schemas.openxmlformats.org/officeDocument/2006/relationships/font" Target="fonts/font10.fntdata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font" Target="fonts/font5.fntdata"/><Relationship Id="rId64" Type="http://schemas.openxmlformats.org/officeDocument/2006/relationships/font" Target="fonts/font13.fntdata"/><Relationship Id="rId77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notesMaster" Target="notesMasters/notesMaster1.xml"/><Relationship Id="rId80" Type="http://schemas.microsoft.com/office/2015/10/relationships/revisionInfo" Target="revisionInfo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font" Target="fonts/font8.fntdata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font" Target="fonts/font3.fntdata"/><Relationship Id="rId62" Type="http://schemas.openxmlformats.org/officeDocument/2006/relationships/font" Target="fonts/font11.fntdata"/><Relationship Id="rId75" Type="http://customschemas.google.com/relationships/presentationmetadata" Target="meta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font" Target="fonts/font6.fntdata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font" Target="fonts/font1.fntdata"/><Relationship Id="rId60" Type="http://schemas.openxmlformats.org/officeDocument/2006/relationships/font" Target="fonts/font9.fntdata"/><Relationship Id="rId65" Type="http://schemas.openxmlformats.org/officeDocument/2006/relationships/font" Target="fonts/font14.fntdata"/><Relationship Id="rId78" Type="http://schemas.openxmlformats.org/officeDocument/2006/relationships/theme" Target="theme/theme1.xml"/><Relationship Id="rId81" Type="http://schemas.microsoft.com/office/2018/10/relationships/authors" Target="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Relationship Id="rId34" Type="http://schemas.openxmlformats.org/officeDocument/2006/relationships/slide" Target="slides/slide31.xml"/><Relationship Id="rId50" Type="http://schemas.openxmlformats.org/officeDocument/2006/relationships/slide" Target="slides/slide47.xml"/><Relationship Id="rId55" Type="http://schemas.openxmlformats.org/officeDocument/2006/relationships/font" Target="fonts/font4.fntdata"/><Relationship Id="rId76" Type="http://schemas.openxmlformats.org/officeDocument/2006/relationships/presProps" Target="presProps.xml"/><Relationship Id="rId7" Type="http://schemas.openxmlformats.org/officeDocument/2006/relationships/slide" Target="slides/slide4.xml"/></Relationships>
</file>

<file path=ppt/diagrams/_rels/data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5.svg"/><Relationship Id="rId3" Type="http://schemas.openxmlformats.org/officeDocument/2006/relationships/image" Target="../media/image210.png"/><Relationship Id="rId7" Type="http://schemas.openxmlformats.org/officeDocument/2006/relationships/image" Target="../media/image214.png"/><Relationship Id="rId2" Type="http://schemas.openxmlformats.org/officeDocument/2006/relationships/image" Target="../media/image209.svg"/><Relationship Id="rId1" Type="http://schemas.openxmlformats.org/officeDocument/2006/relationships/image" Target="../media/image208.png"/><Relationship Id="rId6" Type="http://schemas.openxmlformats.org/officeDocument/2006/relationships/image" Target="../media/image213.svg"/><Relationship Id="rId5" Type="http://schemas.openxmlformats.org/officeDocument/2006/relationships/image" Target="../media/image212.png"/><Relationship Id="rId10" Type="http://schemas.openxmlformats.org/officeDocument/2006/relationships/image" Target="../media/image217.svg"/><Relationship Id="rId4" Type="http://schemas.openxmlformats.org/officeDocument/2006/relationships/image" Target="../media/image211.svg"/><Relationship Id="rId9" Type="http://schemas.openxmlformats.org/officeDocument/2006/relationships/image" Target="../media/image216.png"/></Relationships>
</file>

<file path=ppt/diagrams/_rels/drawing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5.svg"/><Relationship Id="rId3" Type="http://schemas.openxmlformats.org/officeDocument/2006/relationships/image" Target="../media/image210.png"/><Relationship Id="rId7" Type="http://schemas.openxmlformats.org/officeDocument/2006/relationships/image" Target="../media/image214.png"/><Relationship Id="rId2" Type="http://schemas.openxmlformats.org/officeDocument/2006/relationships/image" Target="../media/image209.svg"/><Relationship Id="rId1" Type="http://schemas.openxmlformats.org/officeDocument/2006/relationships/image" Target="../media/image208.png"/><Relationship Id="rId6" Type="http://schemas.openxmlformats.org/officeDocument/2006/relationships/image" Target="../media/image213.svg"/><Relationship Id="rId5" Type="http://schemas.openxmlformats.org/officeDocument/2006/relationships/image" Target="../media/image212.png"/><Relationship Id="rId10" Type="http://schemas.openxmlformats.org/officeDocument/2006/relationships/image" Target="../media/image217.svg"/><Relationship Id="rId4" Type="http://schemas.openxmlformats.org/officeDocument/2006/relationships/image" Target="../media/image211.svg"/><Relationship Id="rId9" Type="http://schemas.openxmlformats.org/officeDocument/2006/relationships/image" Target="../media/image21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F36647C-5324-4D08-BDB9-3E9B48F20DD1}" type="doc">
      <dgm:prSet loTypeId="urn:microsoft.com/office/officeart/2017/3/layout/DropPinTimeline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88DC0D2-4444-40D9-B858-BFDAA4CDF353}">
      <dgm:prSet/>
      <dgm:spPr/>
      <dgm:t>
        <a:bodyPr/>
        <a:lstStyle/>
        <a:p>
          <a:pPr>
            <a:defRPr b="1"/>
          </a:pPr>
          <a:r>
            <a:rPr lang="en-US"/>
            <a:t>January</a:t>
          </a:r>
        </a:p>
      </dgm:t>
    </dgm:pt>
    <dgm:pt modelId="{60EC43F8-DA40-49EB-BE0E-26C4F395A32F}" type="parTrans" cxnId="{3F45C7ED-0090-4AEE-94EB-07E2C9AD936C}">
      <dgm:prSet/>
      <dgm:spPr/>
      <dgm:t>
        <a:bodyPr/>
        <a:lstStyle/>
        <a:p>
          <a:endParaRPr lang="en-US"/>
        </a:p>
      </dgm:t>
    </dgm:pt>
    <dgm:pt modelId="{4EEDA2CB-0EF6-42B3-B5C1-B63D1AE6F3BD}" type="sibTrans" cxnId="{3F45C7ED-0090-4AEE-94EB-07E2C9AD936C}">
      <dgm:prSet/>
      <dgm:spPr/>
      <dgm:t>
        <a:bodyPr/>
        <a:lstStyle/>
        <a:p>
          <a:endParaRPr lang="en-US"/>
        </a:p>
      </dgm:t>
    </dgm:pt>
    <dgm:pt modelId="{35F31090-FA02-4466-AFB5-87B6DF07BCD7}">
      <dgm:prSet/>
      <dgm:spPr/>
      <dgm:t>
        <a:bodyPr/>
        <a:lstStyle/>
        <a:p>
          <a:r>
            <a:rPr lang="en-US"/>
            <a:t>Equitable and Respectful Care Education and Implementation</a:t>
          </a:r>
        </a:p>
      </dgm:t>
    </dgm:pt>
    <dgm:pt modelId="{02A6F90A-4E5E-47CC-991A-2BAB3C5B6268}" type="parTrans" cxnId="{EFA22CE1-2C52-470A-9938-CD484B2EA0F6}">
      <dgm:prSet/>
      <dgm:spPr/>
      <dgm:t>
        <a:bodyPr/>
        <a:lstStyle/>
        <a:p>
          <a:endParaRPr lang="en-US"/>
        </a:p>
      </dgm:t>
    </dgm:pt>
    <dgm:pt modelId="{F084EB43-00FB-414A-AD2A-3F7880D78FB6}" type="sibTrans" cxnId="{EFA22CE1-2C52-470A-9938-CD484B2EA0F6}">
      <dgm:prSet/>
      <dgm:spPr/>
      <dgm:t>
        <a:bodyPr/>
        <a:lstStyle/>
        <a:p>
          <a:endParaRPr lang="en-US"/>
        </a:p>
      </dgm:t>
    </dgm:pt>
    <dgm:pt modelId="{71889293-8C1F-4AD7-B68C-3FE0C7D16B13}">
      <dgm:prSet/>
      <dgm:spPr/>
      <dgm:t>
        <a:bodyPr/>
        <a:lstStyle/>
        <a:p>
          <a:pPr>
            <a:defRPr b="1"/>
          </a:pPr>
          <a:r>
            <a:rPr lang="en-US"/>
            <a:t>February</a:t>
          </a:r>
        </a:p>
      </dgm:t>
    </dgm:pt>
    <dgm:pt modelId="{FDAA98F7-80E5-459E-B1FE-A3F0CB591E6B}" type="parTrans" cxnId="{D1029826-F304-40AB-8A45-E110812DD908}">
      <dgm:prSet/>
      <dgm:spPr/>
      <dgm:t>
        <a:bodyPr/>
        <a:lstStyle/>
        <a:p>
          <a:endParaRPr lang="en-US"/>
        </a:p>
      </dgm:t>
    </dgm:pt>
    <dgm:pt modelId="{704D613E-FC16-44F7-BE3D-38E429095BE1}" type="sibTrans" cxnId="{D1029826-F304-40AB-8A45-E110812DD908}">
      <dgm:prSet/>
      <dgm:spPr/>
      <dgm:t>
        <a:bodyPr/>
        <a:lstStyle/>
        <a:p>
          <a:endParaRPr lang="en-US"/>
        </a:p>
      </dgm:t>
    </dgm:pt>
    <dgm:pt modelId="{CD7881FF-A15F-410F-B09D-1E890C99EC42}">
      <dgm:prSet/>
      <dgm:spPr/>
      <dgm:t>
        <a:bodyPr/>
        <a:lstStyle/>
        <a:p>
          <a:r>
            <a:rPr lang="en-US"/>
            <a:t>Equitable and Respectful Care Education and Implementation Part 2</a:t>
          </a:r>
        </a:p>
      </dgm:t>
    </dgm:pt>
    <dgm:pt modelId="{E5D9AAA8-90BA-4237-8261-FCC83548659B}" type="parTrans" cxnId="{BAADE26F-6135-4A42-861F-8734B5021E8C}">
      <dgm:prSet/>
      <dgm:spPr/>
      <dgm:t>
        <a:bodyPr/>
        <a:lstStyle/>
        <a:p>
          <a:endParaRPr lang="en-US"/>
        </a:p>
      </dgm:t>
    </dgm:pt>
    <dgm:pt modelId="{6AF0B477-E943-470E-9479-F3363B74625A}" type="sibTrans" cxnId="{BAADE26F-6135-4A42-861F-8734B5021E8C}">
      <dgm:prSet/>
      <dgm:spPr/>
      <dgm:t>
        <a:bodyPr/>
        <a:lstStyle/>
        <a:p>
          <a:endParaRPr lang="en-US"/>
        </a:p>
      </dgm:t>
    </dgm:pt>
    <dgm:pt modelId="{782B7E6D-275E-44FE-B64E-CF4DCB18CE03}">
      <dgm:prSet/>
      <dgm:spPr/>
      <dgm:t>
        <a:bodyPr/>
        <a:lstStyle/>
        <a:p>
          <a:pPr>
            <a:defRPr b="1"/>
          </a:pPr>
          <a:r>
            <a:rPr lang="en-US"/>
            <a:t>March</a:t>
          </a:r>
        </a:p>
      </dgm:t>
    </dgm:pt>
    <dgm:pt modelId="{7E3DD2C2-FCF7-483B-BBFA-964A0E2EAC0C}" type="parTrans" cxnId="{8DCA5369-4987-4395-B577-3F77808A3F83}">
      <dgm:prSet/>
      <dgm:spPr/>
      <dgm:t>
        <a:bodyPr/>
        <a:lstStyle/>
        <a:p>
          <a:endParaRPr lang="en-US"/>
        </a:p>
      </dgm:t>
    </dgm:pt>
    <dgm:pt modelId="{7A44FBB3-0697-4CC5-A841-27A346413981}" type="sibTrans" cxnId="{8DCA5369-4987-4395-B577-3F77808A3F83}">
      <dgm:prSet/>
      <dgm:spPr/>
      <dgm:t>
        <a:bodyPr/>
        <a:lstStyle/>
        <a:p>
          <a:endParaRPr lang="en-US"/>
        </a:p>
      </dgm:t>
    </dgm:pt>
    <dgm:pt modelId="{3941DDB8-F743-41AB-B193-8BE13A9EBF36}">
      <dgm:prSet/>
      <dgm:spPr/>
      <dgm:t>
        <a:bodyPr/>
        <a:lstStyle/>
        <a:p>
          <a:r>
            <a:rPr lang="en-US"/>
            <a:t>Safe Sleep Environment Education and Implementation</a:t>
          </a:r>
        </a:p>
      </dgm:t>
    </dgm:pt>
    <dgm:pt modelId="{58428392-E344-41F5-84FA-76EEA50DA237}" type="parTrans" cxnId="{F4F8E7B3-B5C3-4ADE-A4BF-BF9089E937FD}">
      <dgm:prSet/>
      <dgm:spPr/>
      <dgm:t>
        <a:bodyPr/>
        <a:lstStyle/>
        <a:p>
          <a:endParaRPr lang="en-US"/>
        </a:p>
      </dgm:t>
    </dgm:pt>
    <dgm:pt modelId="{6DEDE53F-E007-4201-94B1-14C6431F9A09}" type="sibTrans" cxnId="{F4F8E7B3-B5C3-4ADE-A4BF-BF9089E937FD}">
      <dgm:prSet/>
      <dgm:spPr/>
      <dgm:t>
        <a:bodyPr/>
        <a:lstStyle/>
        <a:p>
          <a:endParaRPr lang="en-US"/>
        </a:p>
      </dgm:t>
    </dgm:pt>
    <dgm:pt modelId="{08572C69-19EE-42C6-BA4D-603CD7F3307B}">
      <dgm:prSet/>
      <dgm:spPr/>
      <dgm:t>
        <a:bodyPr/>
        <a:lstStyle/>
        <a:p>
          <a:pPr>
            <a:defRPr b="1"/>
          </a:pPr>
          <a:r>
            <a:rPr lang="en-US"/>
            <a:t>April</a:t>
          </a:r>
        </a:p>
      </dgm:t>
    </dgm:pt>
    <dgm:pt modelId="{F36C70AE-C5E9-45FD-B03D-266D24EF552D}" type="parTrans" cxnId="{C7566451-E4E4-4666-9F97-113B57CFD5DA}">
      <dgm:prSet/>
      <dgm:spPr/>
      <dgm:t>
        <a:bodyPr/>
        <a:lstStyle/>
        <a:p>
          <a:endParaRPr lang="en-US"/>
        </a:p>
      </dgm:t>
    </dgm:pt>
    <dgm:pt modelId="{82A263F1-86DA-4665-B566-AA56CDF4A9BB}" type="sibTrans" cxnId="{C7566451-E4E4-4666-9F97-113B57CFD5DA}">
      <dgm:prSet/>
      <dgm:spPr/>
      <dgm:t>
        <a:bodyPr/>
        <a:lstStyle/>
        <a:p>
          <a:endParaRPr lang="en-US"/>
        </a:p>
      </dgm:t>
    </dgm:pt>
    <dgm:pt modelId="{788A36FF-269B-4055-95FF-3C5324B20379}">
      <dgm:prSet/>
      <dgm:spPr/>
      <dgm:t>
        <a:bodyPr/>
        <a:lstStyle/>
        <a:p>
          <a:r>
            <a:rPr lang="en-US">
              <a:solidFill>
                <a:srgbClr val="000000"/>
              </a:solidFill>
            </a:rPr>
            <a:t>Safe Sleep </a:t>
          </a:r>
          <a:r>
            <a:rPr lang="en-US">
              <a:solidFill>
                <a:srgbClr val="000000"/>
              </a:solidFill>
              <a:latin typeface="Calibri" panose="020F0502020204030204"/>
            </a:rPr>
            <a:t>Environment Education </a:t>
          </a:r>
          <a:r>
            <a:rPr lang="en-US">
              <a:solidFill>
                <a:srgbClr val="000000"/>
              </a:solidFill>
            </a:rPr>
            <a:t>and </a:t>
          </a:r>
          <a:r>
            <a:rPr lang="en-US">
              <a:solidFill>
                <a:srgbClr val="000000"/>
              </a:solidFill>
              <a:latin typeface="Calibri" panose="020F0502020204030204"/>
            </a:rPr>
            <a:t>Implementation</a:t>
          </a:r>
          <a:endParaRPr lang="en-US">
            <a:solidFill>
              <a:srgbClr val="000000"/>
            </a:solidFill>
          </a:endParaRPr>
        </a:p>
      </dgm:t>
    </dgm:pt>
    <dgm:pt modelId="{CCA24C21-3B1C-402F-8FDC-C2B89962FAF9}" type="parTrans" cxnId="{6679F8F8-4DD6-45EF-A5D8-9725BB126DC4}">
      <dgm:prSet/>
      <dgm:spPr/>
      <dgm:t>
        <a:bodyPr/>
        <a:lstStyle/>
        <a:p>
          <a:endParaRPr lang="en-US"/>
        </a:p>
      </dgm:t>
    </dgm:pt>
    <dgm:pt modelId="{C51466E5-D8D4-4B32-8450-8F1E54EA0DC1}" type="sibTrans" cxnId="{6679F8F8-4DD6-45EF-A5D8-9725BB126DC4}">
      <dgm:prSet/>
      <dgm:spPr/>
      <dgm:t>
        <a:bodyPr/>
        <a:lstStyle/>
        <a:p>
          <a:endParaRPr lang="en-US"/>
        </a:p>
      </dgm:t>
    </dgm:pt>
    <dgm:pt modelId="{9DACF67C-F2C7-4BB0-891B-22735034EE56}">
      <dgm:prSet/>
      <dgm:spPr/>
      <dgm:t>
        <a:bodyPr/>
        <a:lstStyle/>
        <a:p>
          <a:pPr>
            <a:defRPr b="1"/>
          </a:pPr>
          <a:r>
            <a:rPr lang="en-US"/>
            <a:t>May</a:t>
          </a:r>
        </a:p>
      </dgm:t>
    </dgm:pt>
    <dgm:pt modelId="{7F53CC57-155F-4B0C-BC49-1CD3FA3AA2D3}" type="parTrans" cxnId="{69545631-356E-4F19-BD8D-26C6F2396ED8}">
      <dgm:prSet/>
      <dgm:spPr/>
      <dgm:t>
        <a:bodyPr/>
        <a:lstStyle/>
        <a:p>
          <a:endParaRPr lang="en-US"/>
        </a:p>
      </dgm:t>
    </dgm:pt>
    <dgm:pt modelId="{67BA471E-783A-4701-8B8C-A920C9849F32}" type="sibTrans" cxnId="{69545631-356E-4F19-BD8D-26C6F2396ED8}">
      <dgm:prSet/>
      <dgm:spPr/>
      <dgm:t>
        <a:bodyPr/>
        <a:lstStyle/>
        <a:p>
          <a:endParaRPr lang="en-US"/>
        </a:p>
      </dgm:t>
    </dgm:pt>
    <dgm:pt modelId="{B883083D-8218-49D7-A828-1ECC3C14D9E4}">
      <dgm:prSet/>
      <dgm:spPr/>
      <dgm:t>
        <a:bodyPr/>
        <a:lstStyle/>
        <a:p>
          <a:r>
            <a:rPr lang="en-US"/>
            <a:t>2024 Face-to-Face Meeting in Springfield IL</a:t>
          </a:r>
        </a:p>
      </dgm:t>
    </dgm:pt>
    <dgm:pt modelId="{3085840A-FC05-43FB-9035-4E3F090482CE}" type="parTrans" cxnId="{C1C5D9CF-DAC4-4058-A2FB-83924AE08BCC}">
      <dgm:prSet/>
      <dgm:spPr/>
      <dgm:t>
        <a:bodyPr/>
        <a:lstStyle/>
        <a:p>
          <a:endParaRPr lang="en-US"/>
        </a:p>
      </dgm:t>
    </dgm:pt>
    <dgm:pt modelId="{B0152FBA-F1BA-4B09-9920-901A87904351}" type="sibTrans" cxnId="{C1C5D9CF-DAC4-4058-A2FB-83924AE08BCC}">
      <dgm:prSet/>
      <dgm:spPr/>
      <dgm:t>
        <a:bodyPr/>
        <a:lstStyle/>
        <a:p>
          <a:endParaRPr lang="en-US"/>
        </a:p>
      </dgm:t>
    </dgm:pt>
    <dgm:pt modelId="{1BECC204-0B33-4492-B18F-BFFE0A1C4F24}" type="pres">
      <dgm:prSet presAssocID="{FF36647C-5324-4D08-BDB9-3E9B48F20DD1}" presName="root" presStyleCnt="0">
        <dgm:presLayoutVars>
          <dgm:chMax/>
          <dgm:chPref/>
          <dgm:animLvl val="lvl"/>
        </dgm:presLayoutVars>
      </dgm:prSet>
      <dgm:spPr/>
    </dgm:pt>
    <dgm:pt modelId="{3348F4B1-7F5F-4A53-A952-22DBCA5BB3EC}" type="pres">
      <dgm:prSet presAssocID="{FF36647C-5324-4D08-BDB9-3E9B48F20DD1}" presName="divider" presStyleLbl="fgAcc1" presStyleIdx="0" presStyleCnt="6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0AA2C8D3-19FD-4BCC-B35D-CCF603F7C82D}" type="pres">
      <dgm:prSet presAssocID="{FF36647C-5324-4D08-BDB9-3E9B48F20DD1}" presName="nodes" presStyleCnt="0">
        <dgm:presLayoutVars>
          <dgm:chMax/>
          <dgm:chPref/>
          <dgm:animLvl val="lvl"/>
        </dgm:presLayoutVars>
      </dgm:prSet>
      <dgm:spPr/>
    </dgm:pt>
    <dgm:pt modelId="{7647DCFA-31EF-4955-B48B-77294C2049C0}" type="pres">
      <dgm:prSet presAssocID="{888DC0D2-4444-40D9-B858-BFDAA4CDF353}" presName="composite" presStyleCnt="0"/>
      <dgm:spPr/>
    </dgm:pt>
    <dgm:pt modelId="{D22A234F-1E9D-4969-A922-A19F09F4C458}" type="pres">
      <dgm:prSet presAssocID="{888DC0D2-4444-40D9-B858-BFDAA4CDF353}" presName="ConnectorPoint" presStyleLbl="lnNode1" presStyleIdx="0" presStyleCnt="5"/>
      <dgm:spPr>
        <a:solidFill>
          <a:schemeClr val="accent2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794BEF26-121F-48B4-9A3A-6B5F50F65E99}" type="pres">
      <dgm:prSet presAssocID="{888DC0D2-4444-40D9-B858-BFDAA4CDF353}" presName="DropPinPlaceHolder" presStyleCnt="0"/>
      <dgm:spPr/>
    </dgm:pt>
    <dgm:pt modelId="{A9511F33-CA42-4152-A4A1-9DD03A2021F8}" type="pres">
      <dgm:prSet presAssocID="{888DC0D2-4444-40D9-B858-BFDAA4CDF353}" presName="DropPin" presStyleLbl="alignNode1" presStyleIdx="0" presStyleCnt="5"/>
      <dgm:spPr/>
    </dgm:pt>
    <dgm:pt modelId="{68D7ED5E-FB27-42A2-AA5A-D2F167CAF615}" type="pres">
      <dgm:prSet presAssocID="{888DC0D2-4444-40D9-B858-BFDAA4CDF353}" presName="Ellipse" presStyleLbl="fgAcc1" presStyleIdx="1" presStyleCnt="6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FCFABF29-6938-49B1-A567-2C728891E9CA}" type="pres">
      <dgm:prSet presAssocID="{888DC0D2-4444-40D9-B858-BFDAA4CDF353}" presName="L2TextContainer" presStyleLbl="revTx" presStyleIdx="0" presStyleCnt="10">
        <dgm:presLayoutVars>
          <dgm:bulletEnabled val="1"/>
        </dgm:presLayoutVars>
      </dgm:prSet>
      <dgm:spPr/>
    </dgm:pt>
    <dgm:pt modelId="{9645BC26-64C3-4BAD-BB69-975CFA0A023B}" type="pres">
      <dgm:prSet presAssocID="{888DC0D2-4444-40D9-B858-BFDAA4CDF353}" presName="L1TextContainer" presStyleLbl="revTx" presStyleIdx="1" presStyleCnt="10">
        <dgm:presLayoutVars>
          <dgm:chMax val="1"/>
          <dgm:chPref val="1"/>
          <dgm:bulletEnabled val="1"/>
        </dgm:presLayoutVars>
      </dgm:prSet>
      <dgm:spPr/>
    </dgm:pt>
    <dgm:pt modelId="{0878A462-46B3-4B25-9268-DE75AAAA8082}" type="pres">
      <dgm:prSet presAssocID="{888DC0D2-4444-40D9-B858-BFDAA4CDF353}" presName="ConnectLine" presStyleLbl="sibTrans1D1" presStyleIdx="0" presStyleCnt="5"/>
      <dgm:spPr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AA4F517A-B97A-4D6D-A03F-37D75BFB37CD}" type="pres">
      <dgm:prSet presAssocID="{888DC0D2-4444-40D9-B858-BFDAA4CDF353}" presName="EmptyPlaceHolder" presStyleCnt="0"/>
      <dgm:spPr/>
    </dgm:pt>
    <dgm:pt modelId="{839A820A-31DA-4797-8204-7F7EF9F5555F}" type="pres">
      <dgm:prSet presAssocID="{4EEDA2CB-0EF6-42B3-B5C1-B63D1AE6F3BD}" presName="spaceBetweenRectangles" presStyleCnt="0"/>
      <dgm:spPr/>
    </dgm:pt>
    <dgm:pt modelId="{8C66825A-5B96-44A4-805E-158B893449C4}" type="pres">
      <dgm:prSet presAssocID="{71889293-8C1F-4AD7-B68C-3FE0C7D16B13}" presName="composite" presStyleCnt="0"/>
      <dgm:spPr/>
    </dgm:pt>
    <dgm:pt modelId="{9D2E5EF5-7EEC-4C17-8531-A7A2D99FD415}" type="pres">
      <dgm:prSet presAssocID="{71889293-8C1F-4AD7-B68C-3FE0C7D16B13}" presName="ConnectorPoint" presStyleLbl="lnNode1" presStyleIdx="1" presStyleCnt="5"/>
      <dgm:spPr>
        <a:solidFill>
          <a:schemeClr val="accent3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073D0FEF-32C2-487B-9F98-8494D9AF969D}" type="pres">
      <dgm:prSet presAssocID="{71889293-8C1F-4AD7-B68C-3FE0C7D16B13}" presName="DropPinPlaceHolder" presStyleCnt="0"/>
      <dgm:spPr/>
    </dgm:pt>
    <dgm:pt modelId="{A75CD570-BD88-4B9C-A3F3-94C8F8344772}" type="pres">
      <dgm:prSet presAssocID="{71889293-8C1F-4AD7-B68C-3FE0C7D16B13}" presName="DropPin" presStyleLbl="alignNode1" presStyleIdx="1" presStyleCnt="5"/>
      <dgm:spPr/>
    </dgm:pt>
    <dgm:pt modelId="{302517CD-6564-4F8E-8536-A67BF33B4069}" type="pres">
      <dgm:prSet presAssocID="{71889293-8C1F-4AD7-B68C-3FE0C7D16B13}" presName="Ellipse" presStyleLbl="fgAcc1" presStyleIdx="2" presStyleCnt="6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F8BF2188-6BF4-47CB-ACB2-C7EBAAA124D8}" type="pres">
      <dgm:prSet presAssocID="{71889293-8C1F-4AD7-B68C-3FE0C7D16B13}" presName="L2TextContainer" presStyleLbl="revTx" presStyleIdx="2" presStyleCnt="10">
        <dgm:presLayoutVars>
          <dgm:bulletEnabled val="1"/>
        </dgm:presLayoutVars>
      </dgm:prSet>
      <dgm:spPr/>
    </dgm:pt>
    <dgm:pt modelId="{D0934DA1-1A1E-4382-BFE9-4832C18E047F}" type="pres">
      <dgm:prSet presAssocID="{71889293-8C1F-4AD7-B68C-3FE0C7D16B13}" presName="L1TextContainer" presStyleLbl="revTx" presStyleIdx="3" presStyleCnt="10">
        <dgm:presLayoutVars>
          <dgm:chMax val="1"/>
          <dgm:chPref val="1"/>
          <dgm:bulletEnabled val="1"/>
        </dgm:presLayoutVars>
      </dgm:prSet>
      <dgm:spPr/>
    </dgm:pt>
    <dgm:pt modelId="{FC6D5085-BC9A-425C-9655-F4EAAB9422C6}" type="pres">
      <dgm:prSet presAssocID="{71889293-8C1F-4AD7-B68C-3FE0C7D16B13}" presName="ConnectLine" presStyleLbl="sibTrans1D1" presStyleIdx="1" presStyleCnt="5"/>
      <dgm:spPr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7CFA46A4-9BD6-49D6-94DC-1AE13D5F412E}" type="pres">
      <dgm:prSet presAssocID="{71889293-8C1F-4AD7-B68C-3FE0C7D16B13}" presName="EmptyPlaceHolder" presStyleCnt="0"/>
      <dgm:spPr/>
    </dgm:pt>
    <dgm:pt modelId="{9B67900B-CDC5-49D7-8DC9-8FE2E33D3D7E}" type="pres">
      <dgm:prSet presAssocID="{704D613E-FC16-44F7-BE3D-38E429095BE1}" presName="spaceBetweenRectangles" presStyleCnt="0"/>
      <dgm:spPr/>
    </dgm:pt>
    <dgm:pt modelId="{3D4DFCF6-A2AE-4455-8EA6-7F92B134DC1A}" type="pres">
      <dgm:prSet presAssocID="{782B7E6D-275E-44FE-B64E-CF4DCB18CE03}" presName="composite" presStyleCnt="0"/>
      <dgm:spPr/>
    </dgm:pt>
    <dgm:pt modelId="{CC3026BE-E675-4141-8C6B-877C71AFCD1B}" type="pres">
      <dgm:prSet presAssocID="{782B7E6D-275E-44FE-B64E-CF4DCB18CE03}" presName="ConnectorPoint" presStyleLbl="lnNode1" presStyleIdx="2" presStyleCnt="5"/>
      <dgm:spPr>
        <a:solidFill>
          <a:schemeClr val="accent4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3AF1427C-042E-4DCE-B899-4E00DBD112C1}" type="pres">
      <dgm:prSet presAssocID="{782B7E6D-275E-44FE-B64E-CF4DCB18CE03}" presName="DropPinPlaceHolder" presStyleCnt="0"/>
      <dgm:spPr/>
    </dgm:pt>
    <dgm:pt modelId="{03390ACF-8941-4B21-81FE-E24DE182F400}" type="pres">
      <dgm:prSet presAssocID="{782B7E6D-275E-44FE-B64E-CF4DCB18CE03}" presName="DropPin" presStyleLbl="alignNode1" presStyleIdx="2" presStyleCnt="5"/>
      <dgm:spPr/>
    </dgm:pt>
    <dgm:pt modelId="{43CE6054-7DA9-41CA-A822-B5AEFEF9A36D}" type="pres">
      <dgm:prSet presAssocID="{782B7E6D-275E-44FE-B64E-CF4DCB18CE03}" presName="Ellipse" presStyleLbl="fgAcc1" presStyleIdx="3" presStyleCnt="6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BE565CC8-066C-44C8-A00D-95B6F78719F0}" type="pres">
      <dgm:prSet presAssocID="{782B7E6D-275E-44FE-B64E-CF4DCB18CE03}" presName="L2TextContainer" presStyleLbl="revTx" presStyleIdx="4" presStyleCnt="10">
        <dgm:presLayoutVars>
          <dgm:bulletEnabled val="1"/>
        </dgm:presLayoutVars>
      </dgm:prSet>
      <dgm:spPr/>
    </dgm:pt>
    <dgm:pt modelId="{4183CEC0-935A-410C-86C6-DD5A3092D739}" type="pres">
      <dgm:prSet presAssocID="{782B7E6D-275E-44FE-B64E-CF4DCB18CE03}" presName="L1TextContainer" presStyleLbl="revTx" presStyleIdx="5" presStyleCnt="10">
        <dgm:presLayoutVars>
          <dgm:chMax val="1"/>
          <dgm:chPref val="1"/>
          <dgm:bulletEnabled val="1"/>
        </dgm:presLayoutVars>
      </dgm:prSet>
      <dgm:spPr/>
    </dgm:pt>
    <dgm:pt modelId="{8C47003B-F241-4006-92DC-837EB791561B}" type="pres">
      <dgm:prSet presAssocID="{782B7E6D-275E-44FE-B64E-CF4DCB18CE03}" presName="ConnectLine" presStyleLbl="sibTrans1D1" presStyleIdx="2" presStyleCnt="5"/>
      <dgm:spPr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84F423D-ECA1-4D55-B1B0-2AD397FD43B9}" type="pres">
      <dgm:prSet presAssocID="{782B7E6D-275E-44FE-B64E-CF4DCB18CE03}" presName="EmptyPlaceHolder" presStyleCnt="0"/>
      <dgm:spPr/>
    </dgm:pt>
    <dgm:pt modelId="{C4A8F019-51C6-4150-A9A3-7778464D4D9A}" type="pres">
      <dgm:prSet presAssocID="{7A44FBB3-0697-4CC5-A841-27A346413981}" presName="spaceBetweenRectangles" presStyleCnt="0"/>
      <dgm:spPr/>
    </dgm:pt>
    <dgm:pt modelId="{1627D70B-BA61-4CFB-8CD9-DFD6FD208DB8}" type="pres">
      <dgm:prSet presAssocID="{08572C69-19EE-42C6-BA4D-603CD7F3307B}" presName="composite" presStyleCnt="0"/>
      <dgm:spPr/>
    </dgm:pt>
    <dgm:pt modelId="{C04AE90F-AC95-43B5-B942-8D97C0918650}" type="pres">
      <dgm:prSet presAssocID="{08572C69-19EE-42C6-BA4D-603CD7F3307B}" presName="ConnectorPoint" presStyleLbl="lnNode1" presStyleIdx="3" presStyleCnt="5"/>
      <dgm:spPr>
        <a:solidFill>
          <a:schemeClr val="accent5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A375F317-579E-4A58-B1AE-3DB841CCE3C7}" type="pres">
      <dgm:prSet presAssocID="{08572C69-19EE-42C6-BA4D-603CD7F3307B}" presName="DropPinPlaceHolder" presStyleCnt="0"/>
      <dgm:spPr/>
    </dgm:pt>
    <dgm:pt modelId="{6667F50D-D88C-4B95-A4A3-18B9756C037C}" type="pres">
      <dgm:prSet presAssocID="{08572C69-19EE-42C6-BA4D-603CD7F3307B}" presName="DropPin" presStyleLbl="alignNode1" presStyleIdx="3" presStyleCnt="5"/>
      <dgm:spPr/>
    </dgm:pt>
    <dgm:pt modelId="{CE1B5BCF-E41F-44D1-B630-6887D15A7398}" type="pres">
      <dgm:prSet presAssocID="{08572C69-19EE-42C6-BA4D-603CD7F3307B}" presName="Ellipse" presStyleLbl="fgAcc1" presStyleIdx="4" presStyleCnt="6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B0EAA9EE-7BD3-411E-86E5-2BA99352C26E}" type="pres">
      <dgm:prSet presAssocID="{08572C69-19EE-42C6-BA4D-603CD7F3307B}" presName="L2TextContainer" presStyleLbl="revTx" presStyleIdx="6" presStyleCnt="10">
        <dgm:presLayoutVars>
          <dgm:bulletEnabled val="1"/>
        </dgm:presLayoutVars>
      </dgm:prSet>
      <dgm:spPr/>
    </dgm:pt>
    <dgm:pt modelId="{2FB1246F-9AFE-48AF-BDF2-C0001E8CE969}" type="pres">
      <dgm:prSet presAssocID="{08572C69-19EE-42C6-BA4D-603CD7F3307B}" presName="L1TextContainer" presStyleLbl="revTx" presStyleIdx="7" presStyleCnt="10">
        <dgm:presLayoutVars>
          <dgm:chMax val="1"/>
          <dgm:chPref val="1"/>
          <dgm:bulletEnabled val="1"/>
        </dgm:presLayoutVars>
      </dgm:prSet>
      <dgm:spPr/>
    </dgm:pt>
    <dgm:pt modelId="{60A486CB-3970-483A-B450-0DD424E81EA2}" type="pres">
      <dgm:prSet presAssocID="{08572C69-19EE-42C6-BA4D-603CD7F3307B}" presName="ConnectLine" presStyleLbl="sibTrans1D1" presStyleIdx="3" presStyleCnt="5"/>
      <dgm:spPr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41F339AF-F68F-4A37-BAD3-4D68C1C35319}" type="pres">
      <dgm:prSet presAssocID="{08572C69-19EE-42C6-BA4D-603CD7F3307B}" presName="EmptyPlaceHolder" presStyleCnt="0"/>
      <dgm:spPr/>
    </dgm:pt>
    <dgm:pt modelId="{679765CD-0C4C-4A20-81BD-17500EDE937C}" type="pres">
      <dgm:prSet presAssocID="{82A263F1-86DA-4665-B566-AA56CDF4A9BB}" presName="spaceBetweenRectangles" presStyleCnt="0"/>
      <dgm:spPr/>
    </dgm:pt>
    <dgm:pt modelId="{10FB814B-C4E0-4046-964B-836A7400F5D5}" type="pres">
      <dgm:prSet presAssocID="{9DACF67C-F2C7-4BB0-891B-22735034EE56}" presName="composite" presStyleCnt="0"/>
      <dgm:spPr/>
    </dgm:pt>
    <dgm:pt modelId="{88C9072A-7971-4C81-9C00-3C768C49DB68}" type="pres">
      <dgm:prSet presAssocID="{9DACF67C-F2C7-4BB0-891B-22735034EE56}" presName="ConnectorPoint" presStyleLbl="lnNode1" presStyleIdx="4" presStyleCnt="5"/>
      <dgm:spPr>
        <a:solidFill>
          <a:schemeClr val="accent6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27A16FE5-37BD-43C7-A92B-586DC7330561}" type="pres">
      <dgm:prSet presAssocID="{9DACF67C-F2C7-4BB0-891B-22735034EE56}" presName="DropPinPlaceHolder" presStyleCnt="0"/>
      <dgm:spPr/>
    </dgm:pt>
    <dgm:pt modelId="{F5D614B9-A401-4908-A5B6-5C785767B12A}" type="pres">
      <dgm:prSet presAssocID="{9DACF67C-F2C7-4BB0-891B-22735034EE56}" presName="DropPin" presStyleLbl="alignNode1" presStyleIdx="4" presStyleCnt="5"/>
      <dgm:spPr/>
    </dgm:pt>
    <dgm:pt modelId="{A10E4821-9E9D-43D5-AF7E-3658E3CCA6D9}" type="pres">
      <dgm:prSet presAssocID="{9DACF67C-F2C7-4BB0-891B-22735034EE56}" presName="Ellipse" presStyleLbl="fgAcc1" presStyleIdx="5" presStyleCnt="6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2A9B991F-842F-4129-B41A-36744D0D1DAF}" type="pres">
      <dgm:prSet presAssocID="{9DACF67C-F2C7-4BB0-891B-22735034EE56}" presName="L2TextContainer" presStyleLbl="revTx" presStyleIdx="8" presStyleCnt="10">
        <dgm:presLayoutVars>
          <dgm:bulletEnabled val="1"/>
        </dgm:presLayoutVars>
      </dgm:prSet>
      <dgm:spPr/>
    </dgm:pt>
    <dgm:pt modelId="{B37425C6-3D26-4CCF-BFF5-FB031B76BCAC}" type="pres">
      <dgm:prSet presAssocID="{9DACF67C-F2C7-4BB0-891B-22735034EE56}" presName="L1TextContainer" presStyleLbl="revTx" presStyleIdx="9" presStyleCnt="10">
        <dgm:presLayoutVars>
          <dgm:chMax val="1"/>
          <dgm:chPref val="1"/>
          <dgm:bulletEnabled val="1"/>
        </dgm:presLayoutVars>
      </dgm:prSet>
      <dgm:spPr/>
    </dgm:pt>
    <dgm:pt modelId="{24B3BAC8-22E0-488C-8C7D-45D0A71DFCF1}" type="pres">
      <dgm:prSet presAssocID="{9DACF67C-F2C7-4BB0-891B-22735034EE56}" presName="ConnectLine" presStyleLbl="sibTrans1D1" presStyleIdx="4" presStyleCnt="5"/>
      <dgm:spPr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5BF1A3A-B469-4681-8F9B-30A2EC4CF281}" type="pres">
      <dgm:prSet presAssocID="{9DACF67C-F2C7-4BB0-891B-22735034EE56}" presName="EmptyPlaceHolder" presStyleCnt="0"/>
      <dgm:spPr/>
    </dgm:pt>
  </dgm:ptLst>
  <dgm:cxnLst>
    <dgm:cxn modelId="{CD62F505-D64A-473E-A0CC-F2C65E6D66AB}" type="presOf" srcId="{B883083D-8218-49D7-A828-1ECC3C14D9E4}" destId="{2A9B991F-842F-4129-B41A-36744D0D1DAF}" srcOrd="0" destOrd="0" presId="urn:microsoft.com/office/officeart/2017/3/layout/DropPinTimeline"/>
    <dgm:cxn modelId="{79FCF117-4766-4A21-80EC-14588C5EF31A}" type="presOf" srcId="{788A36FF-269B-4055-95FF-3C5324B20379}" destId="{B0EAA9EE-7BD3-411E-86E5-2BA99352C26E}" srcOrd="0" destOrd="0" presId="urn:microsoft.com/office/officeart/2017/3/layout/DropPinTimeline"/>
    <dgm:cxn modelId="{D1029826-F304-40AB-8A45-E110812DD908}" srcId="{FF36647C-5324-4D08-BDB9-3E9B48F20DD1}" destId="{71889293-8C1F-4AD7-B68C-3FE0C7D16B13}" srcOrd="1" destOrd="0" parTransId="{FDAA98F7-80E5-459E-B1FE-A3F0CB591E6B}" sibTransId="{704D613E-FC16-44F7-BE3D-38E429095BE1}"/>
    <dgm:cxn modelId="{69545631-356E-4F19-BD8D-26C6F2396ED8}" srcId="{FF36647C-5324-4D08-BDB9-3E9B48F20DD1}" destId="{9DACF67C-F2C7-4BB0-891B-22735034EE56}" srcOrd="4" destOrd="0" parTransId="{7F53CC57-155F-4B0C-BC49-1CD3FA3AA2D3}" sibTransId="{67BA471E-783A-4701-8B8C-A920C9849F32}"/>
    <dgm:cxn modelId="{C7566451-E4E4-4666-9F97-113B57CFD5DA}" srcId="{FF36647C-5324-4D08-BDB9-3E9B48F20DD1}" destId="{08572C69-19EE-42C6-BA4D-603CD7F3307B}" srcOrd="3" destOrd="0" parTransId="{F36C70AE-C5E9-45FD-B03D-266D24EF552D}" sibTransId="{82A263F1-86DA-4665-B566-AA56CDF4A9BB}"/>
    <dgm:cxn modelId="{8DCA5369-4987-4395-B577-3F77808A3F83}" srcId="{FF36647C-5324-4D08-BDB9-3E9B48F20DD1}" destId="{782B7E6D-275E-44FE-B64E-CF4DCB18CE03}" srcOrd="2" destOrd="0" parTransId="{7E3DD2C2-FCF7-483B-BBFA-964A0E2EAC0C}" sibTransId="{7A44FBB3-0697-4CC5-A841-27A346413981}"/>
    <dgm:cxn modelId="{BAADE26F-6135-4A42-861F-8734B5021E8C}" srcId="{71889293-8C1F-4AD7-B68C-3FE0C7D16B13}" destId="{CD7881FF-A15F-410F-B09D-1E890C99EC42}" srcOrd="0" destOrd="0" parTransId="{E5D9AAA8-90BA-4237-8261-FCC83548659B}" sibTransId="{6AF0B477-E943-470E-9479-F3363B74625A}"/>
    <dgm:cxn modelId="{6FACEE9D-7071-480D-85E1-6411F0D8F4A8}" type="presOf" srcId="{35F31090-FA02-4466-AFB5-87B6DF07BCD7}" destId="{FCFABF29-6938-49B1-A567-2C728891E9CA}" srcOrd="0" destOrd="0" presId="urn:microsoft.com/office/officeart/2017/3/layout/DropPinTimeline"/>
    <dgm:cxn modelId="{418E44A6-0EEE-4A3C-8130-2A6019848E24}" type="presOf" srcId="{9DACF67C-F2C7-4BB0-891B-22735034EE56}" destId="{B37425C6-3D26-4CCF-BFF5-FB031B76BCAC}" srcOrd="0" destOrd="0" presId="urn:microsoft.com/office/officeart/2017/3/layout/DropPinTimeline"/>
    <dgm:cxn modelId="{2A5D75A8-8298-461F-A084-5CA95FCC7C07}" type="presOf" srcId="{888DC0D2-4444-40D9-B858-BFDAA4CDF353}" destId="{9645BC26-64C3-4BAD-BB69-975CFA0A023B}" srcOrd="0" destOrd="0" presId="urn:microsoft.com/office/officeart/2017/3/layout/DropPinTimeline"/>
    <dgm:cxn modelId="{F4F8E7B3-B5C3-4ADE-A4BF-BF9089E937FD}" srcId="{782B7E6D-275E-44FE-B64E-CF4DCB18CE03}" destId="{3941DDB8-F743-41AB-B193-8BE13A9EBF36}" srcOrd="0" destOrd="0" parTransId="{58428392-E344-41F5-84FA-76EEA50DA237}" sibTransId="{6DEDE53F-E007-4201-94B1-14C6431F9A09}"/>
    <dgm:cxn modelId="{DA332ABC-6DD8-4389-AAF7-C6A73104A100}" type="presOf" srcId="{FF36647C-5324-4D08-BDB9-3E9B48F20DD1}" destId="{1BECC204-0B33-4492-B18F-BFFE0A1C4F24}" srcOrd="0" destOrd="0" presId="urn:microsoft.com/office/officeart/2017/3/layout/DropPinTimeline"/>
    <dgm:cxn modelId="{F82BDAC2-B450-4748-9D5B-7FEF3D82D5BB}" type="presOf" srcId="{08572C69-19EE-42C6-BA4D-603CD7F3307B}" destId="{2FB1246F-9AFE-48AF-BDF2-C0001E8CE969}" srcOrd="0" destOrd="0" presId="urn:microsoft.com/office/officeart/2017/3/layout/DropPinTimeline"/>
    <dgm:cxn modelId="{6B2077CA-0C72-40FF-96B9-43BCD58A7573}" type="presOf" srcId="{71889293-8C1F-4AD7-B68C-3FE0C7D16B13}" destId="{D0934DA1-1A1E-4382-BFE9-4832C18E047F}" srcOrd="0" destOrd="0" presId="urn:microsoft.com/office/officeart/2017/3/layout/DropPinTimeline"/>
    <dgm:cxn modelId="{727154CB-7A47-4C5C-87D4-AC58DA7375DF}" type="presOf" srcId="{3941DDB8-F743-41AB-B193-8BE13A9EBF36}" destId="{BE565CC8-066C-44C8-A00D-95B6F78719F0}" srcOrd="0" destOrd="0" presId="urn:microsoft.com/office/officeart/2017/3/layout/DropPinTimeline"/>
    <dgm:cxn modelId="{C1C5D9CF-DAC4-4058-A2FB-83924AE08BCC}" srcId="{9DACF67C-F2C7-4BB0-891B-22735034EE56}" destId="{B883083D-8218-49D7-A828-1ECC3C14D9E4}" srcOrd="0" destOrd="0" parTransId="{3085840A-FC05-43FB-9035-4E3F090482CE}" sibTransId="{B0152FBA-F1BA-4B09-9920-901A87904351}"/>
    <dgm:cxn modelId="{EFA22CE1-2C52-470A-9938-CD484B2EA0F6}" srcId="{888DC0D2-4444-40D9-B858-BFDAA4CDF353}" destId="{35F31090-FA02-4466-AFB5-87B6DF07BCD7}" srcOrd="0" destOrd="0" parTransId="{02A6F90A-4E5E-47CC-991A-2BAB3C5B6268}" sibTransId="{F084EB43-00FB-414A-AD2A-3F7880D78FB6}"/>
    <dgm:cxn modelId="{3F45C7ED-0090-4AEE-94EB-07E2C9AD936C}" srcId="{FF36647C-5324-4D08-BDB9-3E9B48F20DD1}" destId="{888DC0D2-4444-40D9-B858-BFDAA4CDF353}" srcOrd="0" destOrd="0" parTransId="{60EC43F8-DA40-49EB-BE0E-26C4F395A32F}" sibTransId="{4EEDA2CB-0EF6-42B3-B5C1-B63D1AE6F3BD}"/>
    <dgm:cxn modelId="{6679F8F8-4DD6-45EF-A5D8-9725BB126DC4}" srcId="{08572C69-19EE-42C6-BA4D-603CD7F3307B}" destId="{788A36FF-269B-4055-95FF-3C5324B20379}" srcOrd="0" destOrd="0" parTransId="{CCA24C21-3B1C-402F-8FDC-C2B89962FAF9}" sibTransId="{C51466E5-D8D4-4B32-8450-8F1E54EA0DC1}"/>
    <dgm:cxn modelId="{416D2EFC-2DBE-48C6-8041-D68A860B42DA}" type="presOf" srcId="{CD7881FF-A15F-410F-B09D-1E890C99EC42}" destId="{F8BF2188-6BF4-47CB-ACB2-C7EBAAA124D8}" srcOrd="0" destOrd="0" presId="urn:microsoft.com/office/officeart/2017/3/layout/DropPinTimeline"/>
    <dgm:cxn modelId="{004D40FF-51CA-482D-A0F7-E8B53A0BF32F}" type="presOf" srcId="{782B7E6D-275E-44FE-B64E-CF4DCB18CE03}" destId="{4183CEC0-935A-410C-86C6-DD5A3092D739}" srcOrd="0" destOrd="0" presId="urn:microsoft.com/office/officeart/2017/3/layout/DropPinTimeline"/>
    <dgm:cxn modelId="{F9271193-4419-44F4-9E30-1C0A3099B7D0}" type="presParOf" srcId="{1BECC204-0B33-4492-B18F-BFFE0A1C4F24}" destId="{3348F4B1-7F5F-4A53-A952-22DBCA5BB3EC}" srcOrd="0" destOrd="0" presId="urn:microsoft.com/office/officeart/2017/3/layout/DropPinTimeline"/>
    <dgm:cxn modelId="{00381ACC-06D9-4035-B13A-E8623E98AAC0}" type="presParOf" srcId="{1BECC204-0B33-4492-B18F-BFFE0A1C4F24}" destId="{0AA2C8D3-19FD-4BCC-B35D-CCF603F7C82D}" srcOrd="1" destOrd="0" presId="urn:microsoft.com/office/officeart/2017/3/layout/DropPinTimeline"/>
    <dgm:cxn modelId="{8305D452-2025-4CC4-8D55-C7F2DD7090FB}" type="presParOf" srcId="{0AA2C8D3-19FD-4BCC-B35D-CCF603F7C82D}" destId="{7647DCFA-31EF-4955-B48B-77294C2049C0}" srcOrd="0" destOrd="0" presId="urn:microsoft.com/office/officeart/2017/3/layout/DropPinTimeline"/>
    <dgm:cxn modelId="{D159A516-39AD-4A8A-AF6C-911E1D2024A7}" type="presParOf" srcId="{7647DCFA-31EF-4955-B48B-77294C2049C0}" destId="{D22A234F-1E9D-4969-A922-A19F09F4C458}" srcOrd="0" destOrd="0" presId="urn:microsoft.com/office/officeart/2017/3/layout/DropPinTimeline"/>
    <dgm:cxn modelId="{8BCE6E29-3148-4775-9BC6-AD6556F9C3CB}" type="presParOf" srcId="{7647DCFA-31EF-4955-B48B-77294C2049C0}" destId="{794BEF26-121F-48B4-9A3A-6B5F50F65E99}" srcOrd="1" destOrd="0" presId="urn:microsoft.com/office/officeart/2017/3/layout/DropPinTimeline"/>
    <dgm:cxn modelId="{FE394E9E-8BE0-4AD7-9777-307C79CE0F5C}" type="presParOf" srcId="{794BEF26-121F-48B4-9A3A-6B5F50F65E99}" destId="{A9511F33-CA42-4152-A4A1-9DD03A2021F8}" srcOrd="0" destOrd="0" presId="urn:microsoft.com/office/officeart/2017/3/layout/DropPinTimeline"/>
    <dgm:cxn modelId="{74EEA8DC-433D-4AAC-9F56-63244489FE0A}" type="presParOf" srcId="{794BEF26-121F-48B4-9A3A-6B5F50F65E99}" destId="{68D7ED5E-FB27-42A2-AA5A-D2F167CAF615}" srcOrd="1" destOrd="0" presId="urn:microsoft.com/office/officeart/2017/3/layout/DropPinTimeline"/>
    <dgm:cxn modelId="{DACCCDE1-B3F1-441A-AE2B-5C4399749985}" type="presParOf" srcId="{7647DCFA-31EF-4955-B48B-77294C2049C0}" destId="{FCFABF29-6938-49B1-A567-2C728891E9CA}" srcOrd="2" destOrd="0" presId="urn:microsoft.com/office/officeart/2017/3/layout/DropPinTimeline"/>
    <dgm:cxn modelId="{5CC2F7C5-1E8B-4308-A506-C849FA9857A7}" type="presParOf" srcId="{7647DCFA-31EF-4955-B48B-77294C2049C0}" destId="{9645BC26-64C3-4BAD-BB69-975CFA0A023B}" srcOrd="3" destOrd="0" presId="urn:microsoft.com/office/officeart/2017/3/layout/DropPinTimeline"/>
    <dgm:cxn modelId="{CAEEA50D-69E7-4FA5-9D0A-D9EA464D30C8}" type="presParOf" srcId="{7647DCFA-31EF-4955-B48B-77294C2049C0}" destId="{0878A462-46B3-4B25-9268-DE75AAAA8082}" srcOrd="4" destOrd="0" presId="urn:microsoft.com/office/officeart/2017/3/layout/DropPinTimeline"/>
    <dgm:cxn modelId="{D6224BEC-DEE0-484C-B203-3D30486A5B5F}" type="presParOf" srcId="{7647DCFA-31EF-4955-B48B-77294C2049C0}" destId="{AA4F517A-B97A-4D6D-A03F-37D75BFB37CD}" srcOrd="5" destOrd="0" presId="urn:microsoft.com/office/officeart/2017/3/layout/DropPinTimeline"/>
    <dgm:cxn modelId="{8130550D-3927-4E4D-90CC-08B915B13D01}" type="presParOf" srcId="{0AA2C8D3-19FD-4BCC-B35D-CCF603F7C82D}" destId="{839A820A-31DA-4797-8204-7F7EF9F5555F}" srcOrd="1" destOrd="0" presId="urn:microsoft.com/office/officeart/2017/3/layout/DropPinTimeline"/>
    <dgm:cxn modelId="{F4DD3F4E-CE69-4E1E-BAA2-89F9C47A8E86}" type="presParOf" srcId="{0AA2C8D3-19FD-4BCC-B35D-CCF603F7C82D}" destId="{8C66825A-5B96-44A4-805E-158B893449C4}" srcOrd="2" destOrd="0" presId="urn:microsoft.com/office/officeart/2017/3/layout/DropPinTimeline"/>
    <dgm:cxn modelId="{4FC33A73-65B8-48F4-8118-69DC421B809D}" type="presParOf" srcId="{8C66825A-5B96-44A4-805E-158B893449C4}" destId="{9D2E5EF5-7EEC-4C17-8531-A7A2D99FD415}" srcOrd="0" destOrd="0" presId="urn:microsoft.com/office/officeart/2017/3/layout/DropPinTimeline"/>
    <dgm:cxn modelId="{33302327-0CC8-4B47-A89B-8EA16CCCB8D0}" type="presParOf" srcId="{8C66825A-5B96-44A4-805E-158B893449C4}" destId="{073D0FEF-32C2-487B-9F98-8494D9AF969D}" srcOrd="1" destOrd="0" presId="urn:microsoft.com/office/officeart/2017/3/layout/DropPinTimeline"/>
    <dgm:cxn modelId="{34899155-AA8B-4CF7-A87F-64BDD6EA4D2E}" type="presParOf" srcId="{073D0FEF-32C2-487B-9F98-8494D9AF969D}" destId="{A75CD570-BD88-4B9C-A3F3-94C8F8344772}" srcOrd="0" destOrd="0" presId="urn:microsoft.com/office/officeart/2017/3/layout/DropPinTimeline"/>
    <dgm:cxn modelId="{CC98716A-9CB6-44BE-A5A3-366A17C86780}" type="presParOf" srcId="{073D0FEF-32C2-487B-9F98-8494D9AF969D}" destId="{302517CD-6564-4F8E-8536-A67BF33B4069}" srcOrd="1" destOrd="0" presId="urn:microsoft.com/office/officeart/2017/3/layout/DropPinTimeline"/>
    <dgm:cxn modelId="{7A630EC9-8607-4817-BA25-A48EF96B8AF9}" type="presParOf" srcId="{8C66825A-5B96-44A4-805E-158B893449C4}" destId="{F8BF2188-6BF4-47CB-ACB2-C7EBAAA124D8}" srcOrd="2" destOrd="0" presId="urn:microsoft.com/office/officeart/2017/3/layout/DropPinTimeline"/>
    <dgm:cxn modelId="{C5A24F76-B3D1-4A78-BFF6-C5155DC52CD2}" type="presParOf" srcId="{8C66825A-5B96-44A4-805E-158B893449C4}" destId="{D0934DA1-1A1E-4382-BFE9-4832C18E047F}" srcOrd="3" destOrd="0" presId="urn:microsoft.com/office/officeart/2017/3/layout/DropPinTimeline"/>
    <dgm:cxn modelId="{B5A7B646-EA71-4E75-AD8D-167663DE716F}" type="presParOf" srcId="{8C66825A-5B96-44A4-805E-158B893449C4}" destId="{FC6D5085-BC9A-425C-9655-F4EAAB9422C6}" srcOrd="4" destOrd="0" presId="urn:microsoft.com/office/officeart/2017/3/layout/DropPinTimeline"/>
    <dgm:cxn modelId="{EA7C9224-F524-4913-A47A-6A5EC759138D}" type="presParOf" srcId="{8C66825A-5B96-44A4-805E-158B893449C4}" destId="{7CFA46A4-9BD6-49D6-94DC-1AE13D5F412E}" srcOrd="5" destOrd="0" presId="urn:microsoft.com/office/officeart/2017/3/layout/DropPinTimeline"/>
    <dgm:cxn modelId="{08C2339F-B519-4904-BD45-F0DABBC3BD22}" type="presParOf" srcId="{0AA2C8D3-19FD-4BCC-B35D-CCF603F7C82D}" destId="{9B67900B-CDC5-49D7-8DC9-8FE2E33D3D7E}" srcOrd="3" destOrd="0" presId="urn:microsoft.com/office/officeart/2017/3/layout/DropPinTimeline"/>
    <dgm:cxn modelId="{5759C65C-32CF-480C-AD95-4DBBF60EA1C2}" type="presParOf" srcId="{0AA2C8D3-19FD-4BCC-B35D-CCF603F7C82D}" destId="{3D4DFCF6-A2AE-4455-8EA6-7F92B134DC1A}" srcOrd="4" destOrd="0" presId="urn:microsoft.com/office/officeart/2017/3/layout/DropPinTimeline"/>
    <dgm:cxn modelId="{4B69749B-2A22-420E-A9D7-C85F28579D04}" type="presParOf" srcId="{3D4DFCF6-A2AE-4455-8EA6-7F92B134DC1A}" destId="{CC3026BE-E675-4141-8C6B-877C71AFCD1B}" srcOrd="0" destOrd="0" presId="urn:microsoft.com/office/officeart/2017/3/layout/DropPinTimeline"/>
    <dgm:cxn modelId="{38C6D4C1-F927-4F54-86A7-A4281FDBA3A8}" type="presParOf" srcId="{3D4DFCF6-A2AE-4455-8EA6-7F92B134DC1A}" destId="{3AF1427C-042E-4DCE-B899-4E00DBD112C1}" srcOrd="1" destOrd="0" presId="urn:microsoft.com/office/officeart/2017/3/layout/DropPinTimeline"/>
    <dgm:cxn modelId="{79552613-1685-49C9-8C16-B75A41424316}" type="presParOf" srcId="{3AF1427C-042E-4DCE-B899-4E00DBD112C1}" destId="{03390ACF-8941-4B21-81FE-E24DE182F400}" srcOrd="0" destOrd="0" presId="urn:microsoft.com/office/officeart/2017/3/layout/DropPinTimeline"/>
    <dgm:cxn modelId="{EC5D87B7-04B7-4930-85E4-A5E458C47218}" type="presParOf" srcId="{3AF1427C-042E-4DCE-B899-4E00DBD112C1}" destId="{43CE6054-7DA9-41CA-A822-B5AEFEF9A36D}" srcOrd="1" destOrd="0" presId="urn:microsoft.com/office/officeart/2017/3/layout/DropPinTimeline"/>
    <dgm:cxn modelId="{E9DB52A8-7F95-4DD6-B2B9-E8A79A0CD339}" type="presParOf" srcId="{3D4DFCF6-A2AE-4455-8EA6-7F92B134DC1A}" destId="{BE565CC8-066C-44C8-A00D-95B6F78719F0}" srcOrd="2" destOrd="0" presId="urn:microsoft.com/office/officeart/2017/3/layout/DropPinTimeline"/>
    <dgm:cxn modelId="{942524C7-02DD-4318-9749-477A7704293D}" type="presParOf" srcId="{3D4DFCF6-A2AE-4455-8EA6-7F92B134DC1A}" destId="{4183CEC0-935A-410C-86C6-DD5A3092D739}" srcOrd="3" destOrd="0" presId="urn:microsoft.com/office/officeart/2017/3/layout/DropPinTimeline"/>
    <dgm:cxn modelId="{617CC12A-9BFC-433B-82A6-C3650AEDB5A6}" type="presParOf" srcId="{3D4DFCF6-A2AE-4455-8EA6-7F92B134DC1A}" destId="{8C47003B-F241-4006-92DC-837EB791561B}" srcOrd="4" destOrd="0" presId="urn:microsoft.com/office/officeart/2017/3/layout/DropPinTimeline"/>
    <dgm:cxn modelId="{1E629379-FA21-4F3E-9CB9-639DD03CF50F}" type="presParOf" srcId="{3D4DFCF6-A2AE-4455-8EA6-7F92B134DC1A}" destId="{984F423D-ECA1-4D55-B1B0-2AD397FD43B9}" srcOrd="5" destOrd="0" presId="urn:microsoft.com/office/officeart/2017/3/layout/DropPinTimeline"/>
    <dgm:cxn modelId="{5D51FD6E-CEC9-4287-9969-2AAED6145158}" type="presParOf" srcId="{0AA2C8D3-19FD-4BCC-B35D-CCF603F7C82D}" destId="{C4A8F019-51C6-4150-A9A3-7778464D4D9A}" srcOrd="5" destOrd="0" presId="urn:microsoft.com/office/officeart/2017/3/layout/DropPinTimeline"/>
    <dgm:cxn modelId="{9C8293D9-07A4-4916-8C31-B9EF56CE48C0}" type="presParOf" srcId="{0AA2C8D3-19FD-4BCC-B35D-CCF603F7C82D}" destId="{1627D70B-BA61-4CFB-8CD9-DFD6FD208DB8}" srcOrd="6" destOrd="0" presId="urn:microsoft.com/office/officeart/2017/3/layout/DropPinTimeline"/>
    <dgm:cxn modelId="{0912CBBE-6CF8-488F-A671-4AB47FF6A694}" type="presParOf" srcId="{1627D70B-BA61-4CFB-8CD9-DFD6FD208DB8}" destId="{C04AE90F-AC95-43B5-B942-8D97C0918650}" srcOrd="0" destOrd="0" presId="urn:microsoft.com/office/officeart/2017/3/layout/DropPinTimeline"/>
    <dgm:cxn modelId="{4ED6CC13-119A-4076-9945-2A7A0E1B47A4}" type="presParOf" srcId="{1627D70B-BA61-4CFB-8CD9-DFD6FD208DB8}" destId="{A375F317-579E-4A58-B1AE-3DB841CCE3C7}" srcOrd="1" destOrd="0" presId="urn:microsoft.com/office/officeart/2017/3/layout/DropPinTimeline"/>
    <dgm:cxn modelId="{F539190A-FE97-4957-8BD8-2EB1DAF8A1C7}" type="presParOf" srcId="{A375F317-579E-4A58-B1AE-3DB841CCE3C7}" destId="{6667F50D-D88C-4B95-A4A3-18B9756C037C}" srcOrd="0" destOrd="0" presId="urn:microsoft.com/office/officeart/2017/3/layout/DropPinTimeline"/>
    <dgm:cxn modelId="{FF4079EC-E210-489A-B181-568661C5EB4F}" type="presParOf" srcId="{A375F317-579E-4A58-B1AE-3DB841CCE3C7}" destId="{CE1B5BCF-E41F-44D1-B630-6887D15A7398}" srcOrd="1" destOrd="0" presId="urn:microsoft.com/office/officeart/2017/3/layout/DropPinTimeline"/>
    <dgm:cxn modelId="{401AB070-A7B0-4F85-84A5-5DFB5181EB93}" type="presParOf" srcId="{1627D70B-BA61-4CFB-8CD9-DFD6FD208DB8}" destId="{B0EAA9EE-7BD3-411E-86E5-2BA99352C26E}" srcOrd="2" destOrd="0" presId="urn:microsoft.com/office/officeart/2017/3/layout/DropPinTimeline"/>
    <dgm:cxn modelId="{51D0AE41-8C1A-4A65-853E-6CA318F625B9}" type="presParOf" srcId="{1627D70B-BA61-4CFB-8CD9-DFD6FD208DB8}" destId="{2FB1246F-9AFE-48AF-BDF2-C0001E8CE969}" srcOrd="3" destOrd="0" presId="urn:microsoft.com/office/officeart/2017/3/layout/DropPinTimeline"/>
    <dgm:cxn modelId="{0D001C07-1060-47BA-9410-87E979E8695A}" type="presParOf" srcId="{1627D70B-BA61-4CFB-8CD9-DFD6FD208DB8}" destId="{60A486CB-3970-483A-B450-0DD424E81EA2}" srcOrd="4" destOrd="0" presId="urn:microsoft.com/office/officeart/2017/3/layout/DropPinTimeline"/>
    <dgm:cxn modelId="{8482717E-A888-4D66-A53C-390DD57ED95A}" type="presParOf" srcId="{1627D70B-BA61-4CFB-8CD9-DFD6FD208DB8}" destId="{41F339AF-F68F-4A37-BAD3-4D68C1C35319}" srcOrd="5" destOrd="0" presId="urn:microsoft.com/office/officeart/2017/3/layout/DropPinTimeline"/>
    <dgm:cxn modelId="{09D9D67F-7516-4452-8D94-0684F285F7D2}" type="presParOf" srcId="{0AA2C8D3-19FD-4BCC-B35D-CCF603F7C82D}" destId="{679765CD-0C4C-4A20-81BD-17500EDE937C}" srcOrd="7" destOrd="0" presId="urn:microsoft.com/office/officeart/2017/3/layout/DropPinTimeline"/>
    <dgm:cxn modelId="{B1D24C6F-55CD-4323-8167-947EBAED7FD5}" type="presParOf" srcId="{0AA2C8D3-19FD-4BCC-B35D-CCF603F7C82D}" destId="{10FB814B-C4E0-4046-964B-836A7400F5D5}" srcOrd="8" destOrd="0" presId="urn:microsoft.com/office/officeart/2017/3/layout/DropPinTimeline"/>
    <dgm:cxn modelId="{C829D0C4-CCF9-4E2D-AB10-952F62F2E219}" type="presParOf" srcId="{10FB814B-C4E0-4046-964B-836A7400F5D5}" destId="{88C9072A-7971-4C81-9C00-3C768C49DB68}" srcOrd="0" destOrd="0" presId="urn:microsoft.com/office/officeart/2017/3/layout/DropPinTimeline"/>
    <dgm:cxn modelId="{D6EEB538-42C1-4140-8D0D-DE4ED27D072C}" type="presParOf" srcId="{10FB814B-C4E0-4046-964B-836A7400F5D5}" destId="{27A16FE5-37BD-43C7-A92B-586DC7330561}" srcOrd="1" destOrd="0" presId="urn:microsoft.com/office/officeart/2017/3/layout/DropPinTimeline"/>
    <dgm:cxn modelId="{75A60424-5853-42CD-927C-B1B7550FA40D}" type="presParOf" srcId="{27A16FE5-37BD-43C7-A92B-586DC7330561}" destId="{F5D614B9-A401-4908-A5B6-5C785767B12A}" srcOrd="0" destOrd="0" presId="urn:microsoft.com/office/officeart/2017/3/layout/DropPinTimeline"/>
    <dgm:cxn modelId="{AA573271-0EF0-4D5F-84D3-000F5B27A24F}" type="presParOf" srcId="{27A16FE5-37BD-43C7-A92B-586DC7330561}" destId="{A10E4821-9E9D-43D5-AF7E-3658E3CCA6D9}" srcOrd="1" destOrd="0" presId="urn:microsoft.com/office/officeart/2017/3/layout/DropPinTimeline"/>
    <dgm:cxn modelId="{8773BB76-E904-4764-BC72-62D56D56A222}" type="presParOf" srcId="{10FB814B-C4E0-4046-964B-836A7400F5D5}" destId="{2A9B991F-842F-4129-B41A-36744D0D1DAF}" srcOrd="2" destOrd="0" presId="urn:microsoft.com/office/officeart/2017/3/layout/DropPinTimeline"/>
    <dgm:cxn modelId="{69B2CA29-41B8-459E-BDD8-4B237A9EB562}" type="presParOf" srcId="{10FB814B-C4E0-4046-964B-836A7400F5D5}" destId="{B37425C6-3D26-4CCF-BFF5-FB031B76BCAC}" srcOrd="3" destOrd="0" presId="urn:microsoft.com/office/officeart/2017/3/layout/DropPinTimeline"/>
    <dgm:cxn modelId="{2696361F-70C4-48D8-A0E9-FF57306F90AB}" type="presParOf" srcId="{10FB814B-C4E0-4046-964B-836A7400F5D5}" destId="{24B3BAC8-22E0-488C-8C7D-45D0A71DFCF1}" srcOrd="4" destOrd="0" presId="urn:microsoft.com/office/officeart/2017/3/layout/DropPinTimeline"/>
    <dgm:cxn modelId="{8B154FB7-CDDF-4070-825E-5FD5E03DBB93}" type="presParOf" srcId="{10FB814B-C4E0-4046-964B-836A7400F5D5}" destId="{95BF1A3A-B469-4681-8F9B-30A2EC4CF281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C461405-E899-4BDA-847F-F09BF45A07B4}" type="doc">
      <dgm:prSet loTypeId="urn:microsoft.com/office/officeart/2005/8/layout/matrix3" loCatId="matrix" qsTypeId="urn:microsoft.com/office/officeart/2005/8/quickstyle/simple1" qsCatId="simple" csTypeId="urn:microsoft.com/office/officeart/2005/8/colors/accent6_3" csCatId="accent6"/>
      <dgm:spPr/>
      <dgm:t>
        <a:bodyPr/>
        <a:lstStyle/>
        <a:p>
          <a:endParaRPr lang="en-US"/>
        </a:p>
      </dgm:t>
    </dgm:pt>
    <dgm:pt modelId="{C506C446-71DD-4800-B9EC-2CEA261C85FC}">
      <dgm:prSet/>
      <dgm:spPr/>
      <dgm:t>
        <a:bodyPr/>
        <a:lstStyle/>
        <a:p>
          <a:r>
            <a:rPr lang="en-US"/>
            <a:t>All physicians and providers, nurses, ancillary clinicians and hospital staff completing E-Modules</a:t>
          </a:r>
        </a:p>
      </dgm:t>
    </dgm:pt>
    <dgm:pt modelId="{4C2E3476-1054-4346-8AF3-3D194482C959}" type="parTrans" cxnId="{6308D8C5-CE60-477D-B2F1-2368EED27DEE}">
      <dgm:prSet/>
      <dgm:spPr/>
      <dgm:t>
        <a:bodyPr/>
        <a:lstStyle/>
        <a:p>
          <a:endParaRPr lang="en-US"/>
        </a:p>
      </dgm:t>
    </dgm:pt>
    <dgm:pt modelId="{5DC9CBD3-78FA-49E7-A51F-DE4246B3DA63}" type="sibTrans" cxnId="{6308D8C5-CE60-477D-B2F1-2368EED27DEE}">
      <dgm:prSet/>
      <dgm:spPr/>
      <dgm:t>
        <a:bodyPr/>
        <a:lstStyle/>
        <a:p>
          <a:endParaRPr lang="en-US"/>
        </a:p>
      </dgm:t>
    </dgm:pt>
    <dgm:pt modelId="{1DC724A3-F71F-4F3F-AFE3-F7645972F1CE}">
      <dgm:prSet/>
      <dgm:spPr/>
      <dgm:t>
        <a:bodyPr/>
        <a:lstStyle/>
        <a:p>
          <a:r>
            <a:rPr lang="en-US"/>
            <a:t>At least 1 ESSI Team Member attends PQI training</a:t>
          </a:r>
        </a:p>
      </dgm:t>
    </dgm:pt>
    <dgm:pt modelId="{67C454AB-2859-4AB7-8FB9-9BC35E3A64B3}" type="parTrans" cxnId="{21D545AB-C03E-4E70-BAEE-1FED7D8D86C7}">
      <dgm:prSet/>
      <dgm:spPr/>
      <dgm:t>
        <a:bodyPr/>
        <a:lstStyle/>
        <a:p>
          <a:endParaRPr lang="en-US"/>
        </a:p>
      </dgm:t>
    </dgm:pt>
    <dgm:pt modelId="{F556B796-6A17-4FBF-876D-33639BDC9B0C}" type="sibTrans" cxnId="{21D545AB-C03E-4E70-BAEE-1FED7D8D86C7}">
      <dgm:prSet/>
      <dgm:spPr/>
      <dgm:t>
        <a:bodyPr/>
        <a:lstStyle/>
        <a:p>
          <a:endParaRPr lang="en-US"/>
        </a:p>
      </dgm:t>
    </dgm:pt>
    <dgm:pt modelId="{96C2D5B1-7D7A-44AB-9200-C205C1AB0DB9}">
      <dgm:prSet/>
      <dgm:spPr/>
      <dgm:t>
        <a:bodyPr/>
        <a:lstStyle/>
        <a:p>
          <a:r>
            <a:rPr lang="en-US">
              <a:latin typeface="Calibri" panose="020F0502020204030204"/>
            </a:rPr>
            <a:t>Host</a:t>
          </a:r>
          <a:r>
            <a:rPr lang="en-US"/>
            <a:t> at least 1 facilitated discussion</a:t>
          </a:r>
        </a:p>
      </dgm:t>
    </dgm:pt>
    <dgm:pt modelId="{FD6D8808-A2D2-412C-A027-21AC214AC556}" type="parTrans" cxnId="{5E14390E-470A-471F-808D-6FB89FB9E32E}">
      <dgm:prSet/>
      <dgm:spPr/>
      <dgm:t>
        <a:bodyPr/>
        <a:lstStyle/>
        <a:p>
          <a:endParaRPr lang="en-US"/>
        </a:p>
      </dgm:t>
    </dgm:pt>
    <dgm:pt modelId="{F80A90AF-3AB4-4B6F-92D4-B1DADA57C58A}" type="sibTrans" cxnId="{5E14390E-470A-471F-808D-6FB89FB9E32E}">
      <dgm:prSet/>
      <dgm:spPr/>
      <dgm:t>
        <a:bodyPr/>
        <a:lstStyle/>
        <a:p>
          <a:endParaRPr lang="en-US"/>
        </a:p>
      </dgm:t>
    </dgm:pt>
    <dgm:pt modelId="{EBBB3B80-A652-4DFE-8F42-F51CB5F1ABA6}">
      <dgm:prSet/>
      <dgm:spPr/>
      <dgm:t>
        <a:bodyPr/>
        <a:lstStyle/>
        <a:p>
          <a:r>
            <a:rPr lang="en-US"/>
            <a:t>System to facilitate feedback from peers, parents and families </a:t>
          </a:r>
        </a:p>
      </dgm:t>
    </dgm:pt>
    <dgm:pt modelId="{C9CAF60A-DBCB-4185-8364-2078B6C5877C}" type="parTrans" cxnId="{FEE82698-6CFA-409B-B2DE-0542393030E1}">
      <dgm:prSet/>
      <dgm:spPr/>
      <dgm:t>
        <a:bodyPr/>
        <a:lstStyle/>
        <a:p>
          <a:endParaRPr lang="en-US"/>
        </a:p>
      </dgm:t>
    </dgm:pt>
    <dgm:pt modelId="{6A7AE82A-1D30-4856-B8D8-B577693E5F01}" type="sibTrans" cxnId="{FEE82698-6CFA-409B-B2DE-0542393030E1}">
      <dgm:prSet/>
      <dgm:spPr/>
      <dgm:t>
        <a:bodyPr/>
        <a:lstStyle/>
        <a:p>
          <a:endParaRPr lang="en-US"/>
        </a:p>
      </dgm:t>
    </dgm:pt>
    <dgm:pt modelId="{8A4FCF69-8464-4DFD-9845-403303830469}" type="pres">
      <dgm:prSet presAssocID="{9C461405-E899-4BDA-847F-F09BF45A07B4}" presName="matrix" presStyleCnt="0">
        <dgm:presLayoutVars>
          <dgm:chMax val="1"/>
          <dgm:dir/>
          <dgm:resizeHandles val="exact"/>
        </dgm:presLayoutVars>
      </dgm:prSet>
      <dgm:spPr/>
    </dgm:pt>
    <dgm:pt modelId="{57131C6F-7311-4A33-A9DE-E1E3BE163BA6}" type="pres">
      <dgm:prSet presAssocID="{9C461405-E899-4BDA-847F-F09BF45A07B4}" presName="diamond" presStyleLbl="bgShp" presStyleIdx="0" presStyleCnt="1" custLinFactNeighborX="-440" custLinFactNeighborY="1984"/>
      <dgm:spPr>
        <a:solidFill>
          <a:srgbClr val="8AE3A9"/>
        </a:solidFill>
      </dgm:spPr>
    </dgm:pt>
    <dgm:pt modelId="{D0017B62-974B-4CCC-82D4-15FD309F3A58}" type="pres">
      <dgm:prSet presAssocID="{9C461405-E899-4BDA-847F-F09BF45A07B4}" presName="quad1" presStyleLbl="node1" presStyleIdx="0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67399538-B1C4-4C02-AA54-EC019EDC318E}" type="pres">
      <dgm:prSet presAssocID="{9C461405-E899-4BDA-847F-F09BF45A07B4}" presName="quad2" presStyleLbl="node1" presStyleIdx="1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AD986641-CB14-4D63-8E1D-83F37749B4CF}" type="pres">
      <dgm:prSet presAssocID="{9C461405-E899-4BDA-847F-F09BF45A07B4}" presName="quad3" presStyleLbl="node1" presStyleIdx="2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41B30F7D-63E8-4828-A2D7-8618F5B94D35}" type="pres">
      <dgm:prSet presAssocID="{9C461405-E899-4BDA-847F-F09BF45A07B4}" presName="quad4" presStyleLbl="node1" presStyleIdx="3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</dgm:ptLst>
  <dgm:cxnLst>
    <dgm:cxn modelId="{5E14390E-470A-471F-808D-6FB89FB9E32E}" srcId="{9C461405-E899-4BDA-847F-F09BF45A07B4}" destId="{96C2D5B1-7D7A-44AB-9200-C205C1AB0DB9}" srcOrd="2" destOrd="0" parTransId="{FD6D8808-A2D2-412C-A027-21AC214AC556}" sibTransId="{F80A90AF-3AB4-4B6F-92D4-B1DADA57C58A}"/>
    <dgm:cxn modelId="{6163A62B-48A7-4DC1-B5F4-F1597CCECEFE}" type="presOf" srcId="{C506C446-71DD-4800-B9EC-2CEA261C85FC}" destId="{D0017B62-974B-4CCC-82D4-15FD309F3A58}" srcOrd="0" destOrd="0" presId="urn:microsoft.com/office/officeart/2005/8/layout/matrix3"/>
    <dgm:cxn modelId="{F9CA6B58-6F21-4D40-999A-3466A3505006}" type="presOf" srcId="{EBBB3B80-A652-4DFE-8F42-F51CB5F1ABA6}" destId="{41B30F7D-63E8-4828-A2D7-8618F5B94D35}" srcOrd="0" destOrd="0" presId="urn:microsoft.com/office/officeart/2005/8/layout/matrix3"/>
    <dgm:cxn modelId="{0758D263-0CAF-488C-9082-B3EE43A4558E}" type="presOf" srcId="{1DC724A3-F71F-4F3F-AFE3-F7645972F1CE}" destId="{67399538-B1C4-4C02-AA54-EC019EDC318E}" srcOrd="0" destOrd="0" presId="urn:microsoft.com/office/officeart/2005/8/layout/matrix3"/>
    <dgm:cxn modelId="{BB794B6B-3CB8-4C51-8C71-BBAD81A09081}" type="presOf" srcId="{96C2D5B1-7D7A-44AB-9200-C205C1AB0DB9}" destId="{AD986641-CB14-4D63-8E1D-83F37749B4CF}" srcOrd="0" destOrd="0" presId="urn:microsoft.com/office/officeart/2005/8/layout/matrix3"/>
    <dgm:cxn modelId="{FEE82698-6CFA-409B-B2DE-0542393030E1}" srcId="{9C461405-E899-4BDA-847F-F09BF45A07B4}" destId="{EBBB3B80-A652-4DFE-8F42-F51CB5F1ABA6}" srcOrd="3" destOrd="0" parTransId="{C9CAF60A-DBCB-4185-8364-2078B6C5877C}" sibTransId="{6A7AE82A-1D30-4856-B8D8-B577693E5F01}"/>
    <dgm:cxn modelId="{21D545AB-C03E-4E70-BAEE-1FED7D8D86C7}" srcId="{9C461405-E899-4BDA-847F-F09BF45A07B4}" destId="{1DC724A3-F71F-4F3F-AFE3-F7645972F1CE}" srcOrd="1" destOrd="0" parTransId="{67C454AB-2859-4AB7-8FB9-9BC35E3A64B3}" sibTransId="{F556B796-6A17-4FBF-876D-33639BDC9B0C}"/>
    <dgm:cxn modelId="{6308D8C5-CE60-477D-B2F1-2368EED27DEE}" srcId="{9C461405-E899-4BDA-847F-F09BF45A07B4}" destId="{C506C446-71DD-4800-B9EC-2CEA261C85FC}" srcOrd="0" destOrd="0" parTransId="{4C2E3476-1054-4346-8AF3-3D194482C959}" sibTransId="{5DC9CBD3-78FA-49E7-A51F-DE4246B3DA63}"/>
    <dgm:cxn modelId="{D8D9F3FF-9BD3-4727-9BE0-440405D2D04F}" type="presOf" srcId="{9C461405-E899-4BDA-847F-F09BF45A07B4}" destId="{8A4FCF69-8464-4DFD-9845-403303830469}" srcOrd="0" destOrd="0" presId="urn:microsoft.com/office/officeart/2005/8/layout/matrix3"/>
    <dgm:cxn modelId="{F8ED9327-13BC-4E5D-9B68-9B7C785559C1}" type="presParOf" srcId="{8A4FCF69-8464-4DFD-9845-403303830469}" destId="{57131C6F-7311-4A33-A9DE-E1E3BE163BA6}" srcOrd="0" destOrd="0" presId="urn:microsoft.com/office/officeart/2005/8/layout/matrix3"/>
    <dgm:cxn modelId="{3C919753-5DC8-471A-9967-9D6AD1EF2873}" type="presParOf" srcId="{8A4FCF69-8464-4DFD-9845-403303830469}" destId="{D0017B62-974B-4CCC-82D4-15FD309F3A58}" srcOrd="1" destOrd="0" presId="urn:microsoft.com/office/officeart/2005/8/layout/matrix3"/>
    <dgm:cxn modelId="{92FF728B-F551-49E1-969B-B654FD5AEF4F}" type="presParOf" srcId="{8A4FCF69-8464-4DFD-9845-403303830469}" destId="{67399538-B1C4-4C02-AA54-EC019EDC318E}" srcOrd="2" destOrd="0" presId="urn:microsoft.com/office/officeart/2005/8/layout/matrix3"/>
    <dgm:cxn modelId="{A38C6C2E-6B7A-43AF-946B-CBA9890BE76F}" type="presParOf" srcId="{8A4FCF69-8464-4DFD-9845-403303830469}" destId="{AD986641-CB14-4D63-8E1D-83F37749B4CF}" srcOrd="3" destOrd="0" presId="urn:microsoft.com/office/officeart/2005/8/layout/matrix3"/>
    <dgm:cxn modelId="{67665BB7-7355-41B9-A9E9-D59E54DB3731}" type="presParOf" srcId="{8A4FCF69-8464-4DFD-9845-403303830469}" destId="{41B30F7D-63E8-4828-A2D7-8618F5B94D35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C461405-E899-4BDA-847F-F09BF45A07B4}" type="doc">
      <dgm:prSet loTypeId="urn:microsoft.com/office/officeart/2017/3/layout/DropPinTimeline" loCatId="timelin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506C446-71DD-4800-B9EC-2CEA261C85FC}">
      <dgm:prSet phldr="0"/>
      <dgm:spPr/>
      <dgm:t>
        <a:bodyPr/>
        <a:lstStyle/>
        <a:p>
          <a:pPr>
            <a:defRPr b="1"/>
          </a:pPr>
          <a:r>
            <a:rPr lang="en-US">
              <a:latin typeface="DM Sans"/>
            </a:rPr>
            <a:t>Review current safe sleep policy and update policy to reflect 2022 AAP Recommendations. </a:t>
          </a:r>
          <a:endParaRPr lang="en-US"/>
        </a:p>
      </dgm:t>
    </dgm:pt>
    <dgm:pt modelId="{4C2E3476-1054-4346-8AF3-3D194482C959}" type="parTrans" cxnId="{6308D8C5-CE60-477D-B2F1-2368EED27DEE}">
      <dgm:prSet/>
      <dgm:spPr/>
      <dgm:t>
        <a:bodyPr/>
        <a:lstStyle/>
        <a:p>
          <a:endParaRPr lang="en-US"/>
        </a:p>
      </dgm:t>
    </dgm:pt>
    <dgm:pt modelId="{5DC9CBD3-78FA-49E7-A51F-DE4246B3DA63}" type="sibTrans" cxnId="{6308D8C5-CE60-477D-B2F1-2368EED27DEE}">
      <dgm:prSet/>
      <dgm:spPr/>
      <dgm:t>
        <a:bodyPr/>
        <a:lstStyle/>
        <a:p>
          <a:endParaRPr lang="en-US"/>
        </a:p>
      </dgm:t>
    </dgm:pt>
    <dgm:pt modelId="{96C2D5B1-7D7A-44AB-9200-C205C1AB0DB9}">
      <dgm:prSet/>
      <dgm:spPr/>
      <dgm:t>
        <a:bodyPr/>
        <a:lstStyle/>
        <a:p>
          <a:pPr>
            <a:defRPr b="1"/>
          </a:pPr>
          <a:r>
            <a:rPr lang="en-US">
              <a:latin typeface="DM Sans"/>
            </a:rPr>
            <a:t>Disseminate recommendations and educate about safe sleep</a:t>
          </a:r>
        </a:p>
      </dgm:t>
    </dgm:pt>
    <dgm:pt modelId="{FD6D8808-A2D2-412C-A027-21AC214AC556}" type="parTrans" cxnId="{5E14390E-470A-471F-808D-6FB89FB9E32E}">
      <dgm:prSet/>
      <dgm:spPr/>
      <dgm:t>
        <a:bodyPr/>
        <a:lstStyle/>
        <a:p>
          <a:endParaRPr lang="en-US"/>
        </a:p>
      </dgm:t>
    </dgm:pt>
    <dgm:pt modelId="{F80A90AF-3AB4-4B6F-92D4-B1DADA57C58A}" type="sibTrans" cxnId="{5E14390E-470A-471F-808D-6FB89FB9E32E}">
      <dgm:prSet/>
      <dgm:spPr/>
      <dgm:t>
        <a:bodyPr/>
        <a:lstStyle/>
        <a:p>
          <a:endParaRPr lang="en-US"/>
        </a:p>
      </dgm:t>
    </dgm:pt>
    <dgm:pt modelId="{923BC028-6505-47D1-AFE4-C130C7AC844D}">
      <dgm:prSet phldr="0"/>
      <dgm:spPr/>
      <dgm:t>
        <a:bodyPr/>
        <a:lstStyle/>
        <a:p>
          <a:pPr>
            <a:defRPr b="1"/>
          </a:pPr>
          <a:r>
            <a:rPr lang="en-US" dirty="0">
              <a:latin typeface="DM Sans"/>
            </a:rPr>
            <a:t>Endorse and model safe sleep practices and incorporate safe sleep education into orientation, annual competencies and ongoing education.</a:t>
          </a:r>
          <a:endParaRPr lang="en-US" dirty="0"/>
        </a:p>
      </dgm:t>
    </dgm:pt>
    <dgm:pt modelId="{ED1B9114-5022-478A-8D8E-00FF1C8F2BB2}" type="parTrans" cxnId="{B4D6E97D-41AF-4C30-AA82-232F3DE5FB78}">
      <dgm:prSet/>
      <dgm:spPr/>
      <dgm:t>
        <a:bodyPr/>
        <a:lstStyle/>
        <a:p>
          <a:endParaRPr lang="en-US"/>
        </a:p>
      </dgm:t>
    </dgm:pt>
    <dgm:pt modelId="{CE130E62-B72B-48BB-BFDE-009BF38F445A}" type="sibTrans" cxnId="{B4D6E97D-41AF-4C30-AA82-232F3DE5FB78}">
      <dgm:prSet/>
      <dgm:spPr/>
      <dgm:t>
        <a:bodyPr/>
        <a:lstStyle/>
        <a:p>
          <a:endParaRPr lang="en-US"/>
        </a:p>
      </dgm:t>
    </dgm:pt>
    <dgm:pt modelId="{90AF004A-E7F2-4B9A-8C34-3AC32288FE3C}" type="pres">
      <dgm:prSet presAssocID="{9C461405-E899-4BDA-847F-F09BF45A07B4}" presName="root" presStyleCnt="0">
        <dgm:presLayoutVars>
          <dgm:chMax/>
          <dgm:chPref/>
          <dgm:animLvl val="lvl"/>
        </dgm:presLayoutVars>
      </dgm:prSet>
      <dgm:spPr/>
    </dgm:pt>
    <dgm:pt modelId="{79E4F431-2D5E-450E-8E51-09919FA26C47}" type="pres">
      <dgm:prSet presAssocID="{9C461405-E899-4BDA-847F-F09BF45A07B4}" presName="divider" presStyleLbl="fgAcc1" presStyleIdx="0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86FDD78A-6D95-40F2-B859-176A25A88F1B}" type="pres">
      <dgm:prSet presAssocID="{9C461405-E899-4BDA-847F-F09BF45A07B4}" presName="nodes" presStyleCnt="0">
        <dgm:presLayoutVars>
          <dgm:chMax/>
          <dgm:chPref/>
          <dgm:animLvl val="lvl"/>
        </dgm:presLayoutVars>
      </dgm:prSet>
      <dgm:spPr/>
    </dgm:pt>
    <dgm:pt modelId="{BE0ABB15-C323-4F6B-8455-042CC92AA1BA}" type="pres">
      <dgm:prSet presAssocID="{C506C446-71DD-4800-B9EC-2CEA261C85FC}" presName="composite" presStyleCnt="0"/>
      <dgm:spPr/>
    </dgm:pt>
    <dgm:pt modelId="{F61F01B2-495B-4E80-B19A-3D5F33285DE5}" type="pres">
      <dgm:prSet presAssocID="{C506C446-71DD-4800-B9EC-2CEA261C85FC}" presName="ConnectorPoint" presStyleLbl="lnNode1" presStyleIdx="0" presStyleCnt="3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FB369683-4C81-4D28-BB52-E6AE5D874656}" type="pres">
      <dgm:prSet presAssocID="{C506C446-71DD-4800-B9EC-2CEA261C85FC}" presName="DropPinPlaceHolder" presStyleCnt="0"/>
      <dgm:spPr/>
    </dgm:pt>
    <dgm:pt modelId="{A0847E7E-6E15-47CE-9D6C-C58B22651211}" type="pres">
      <dgm:prSet presAssocID="{C506C446-71DD-4800-B9EC-2CEA261C85FC}" presName="DropPin" presStyleLbl="alignNode1" presStyleIdx="0" presStyleCnt="3"/>
      <dgm:spPr/>
    </dgm:pt>
    <dgm:pt modelId="{E5BF9E1A-EEF3-4A06-A69D-8D9078F17967}" type="pres">
      <dgm:prSet presAssocID="{C506C446-71DD-4800-B9EC-2CEA261C85FC}" presName="Ellipse" presStyleLbl="fgAcc1" presStyleIdx="1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C13B4051-0770-4031-9EA5-4C4345355EF0}" type="pres">
      <dgm:prSet presAssocID="{C506C446-71DD-4800-B9EC-2CEA261C85FC}" presName="L2TextContainer" presStyleLbl="revTx" presStyleIdx="0" presStyleCnt="6">
        <dgm:presLayoutVars>
          <dgm:bulletEnabled val="1"/>
        </dgm:presLayoutVars>
      </dgm:prSet>
      <dgm:spPr/>
    </dgm:pt>
    <dgm:pt modelId="{D8B41552-4633-4A07-A10D-33BD6ECA781E}" type="pres">
      <dgm:prSet presAssocID="{C506C446-71DD-4800-B9EC-2CEA261C85FC}" presName="L1TextContainer" presStyleLbl="revTx" presStyleIdx="1" presStyleCnt="6" custLinFactNeighborX="-732" custLinFactNeighborY="78061">
        <dgm:presLayoutVars>
          <dgm:chMax val="1"/>
          <dgm:chPref val="1"/>
          <dgm:bulletEnabled val="1"/>
        </dgm:presLayoutVars>
      </dgm:prSet>
      <dgm:spPr/>
    </dgm:pt>
    <dgm:pt modelId="{6DB38C9C-DDD8-49AF-8A63-6696F37F2744}" type="pres">
      <dgm:prSet presAssocID="{C506C446-71DD-4800-B9EC-2CEA261C85FC}" presName="ConnectLine" presStyleLbl="sibTrans1D1" presStyleIdx="0" presStyleCnt="3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386A31CD-6E4F-4FF4-A30A-23365EC4E6D2}" type="pres">
      <dgm:prSet presAssocID="{C506C446-71DD-4800-B9EC-2CEA261C85FC}" presName="EmptyPlaceHolder" presStyleCnt="0"/>
      <dgm:spPr/>
    </dgm:pt>
    <dgm:pt modelId="{E249277F-FADC-4DF6-85AE-CECA1738078F}" type="pres">
      <dgm:prSet presAssocID="{5DC9CBD3-78FA-49E7-A51F-DE4246B3DA63}" presName="spaceBetweenRectangles" presStyleCnt="0"/>
      <dgm:spPr/>
    </dgm:pt>
    <dgm:pt modelId="{8FF807FA-8C7E-436B-A7F1-A97344FAB5B9}" type="pres">
      <dgm:prSet presAssocID="{96C2D5B1-7D7A-44AB-9200-C205C1AB0DB9}" presName="composite" presStyleCnt="0"/>
      <dgm:spPr/>
    </dgm:pt>
    <dgm:pt modelId="{2F37D170-275F-4014-9B66-B38F55AA3F65}" type="pres">
      <dgm:prSet presAssocID="{96C2D5B1-7D7A-44AB-9200-C205C1AB0DB9}" presName="ConnectorPoint" presStyleLbl="lnNode1" presStyleIdx="1" presStyleCnt="3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71E9BDC5-4ADE-4D25-AC52-9D1BE25D0187}" type="pres">
      <dgm:prSet presAssocID="{96C2D5B1-7D7A-44AB-9200-C205C1AB0DB9}" presName="DropPinPlaceHolder" presStyleCnt="0"/>
      <dgm:spPr/>
    </dgm:pt>
    <dgm:pt modelId="{0AFF2147-3759-4332-A275-FF8507D17E70}" type="pres">
      <dgm:prSet presAssocID="{96C2D5B1-7D7A-44AB-9200-C205C1AB0DB9}" presName="DropPin" presStyleLbl="alignNode1" presStyleIdx="1" presStyleCnt="3"/>
      <dgm:spPr/>
    </dgm:pt>
    <dgm:pt modelId="{BF5C1AD6-9550-4F27-94F4-A80D44EFDF43}" type="pres">
      <dgm:prSet presAssocID="{96C2D5B1-7D7A-44AB-9200-C205C1AB0DB9}" presName="Ellipse" presStyleLbl="fgAcc1" presStyleIdx="2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4B6D73B5-5A28-4D18-ABD7-5CF35A589C8A}" type="pres">
      <dgm:prSet presAssocID="{96C2D5B1-7D7A-44AB-9200-C205C1AB0DB9}" presName="L2TextContainer" presStyleLbl="revTx" presStyleIdx="2" presStyleCnt="6">
        <dgm:presLayoutVars>
          <dgm:bulletEnabled val="1"/>
        </dgm:presLayoutVars>
      </dgm:prSet>
      <dgm:spPr/>
    </dgm:pt>
    <dgm:pt modelId="{B04E2B90-B641-4359-942D-47D59112DE24}" type="pres">
      <dgm:prSet presAssocID="{96C2D5B1-7D7A-44AB-9200-C205C1AB0DB9}" presName="L1TextContainer" presStyleLbl="revTx" presStyleIdx="3" presStyleCnt="6" custLinFactY="-100000" custLinFactNeighborX="-3468" custLinFactNeighborY="-132205">
        <dgm:presLayoutVars>
          <dgm:chMax val="1"/>
          <dgm:chPref val="1"/>
          <dgm:bulletEnabled val="1"/>
        </dgm:presLayoutVars>
      </dgm:prSet>
      <dgm:spPr/>
    </dgm:pt>
    <dgm:pt modelId="{165656CC-241C-48F6-83A8-0DAB1014E2D6}" type="pres">
      <dgm:prSet presAssocID="{96C2D5B1-7D7A-44AB-9200-C205C1AB0DB9}" presName="ConnectLine" presStyleLbl="sibTrans1D1" presStyleIdx="1" presStyleCnt="3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12DF6020-951E-48AA-AB95-5B89D6AE0E95}" type="pres">
      <dgm:prSet presAssocID="{96C2D5B1-7D7A-44AB-9200-C205C1AB0DB9}" presName="EmptyPlaceHolder" presStyleCnt="0"/>
      <dgm:spPr/>
    </dgm:pt>
    <dgm:pt modelId="{75D7D005-A4BE-4833-A632-CCCB52ED2D1A}" type="pres">
      <dgm:prSet presAssocID="{F80A90AF-3AB4-4B6F-92D4-B1DADA57C58A}" presName="spaceBetweenRectangles" presStyleCnt="0"/>
      <dgm:spPr/>
    </dgm:pt>
    <dgm:pt modelId="{24C7F27D-DC82-4272-B7E1-10F783A0D0CB}" type="pres">
      <dgm:prSet presAssocID="{923BC028-6505-47D1-AFE4-C130C7AC844D}" presName="composite" presStyleCnt="0"/>
      <dgm:spPr/>
    </dgm:pt>
    <dgm:pt modelId="{CDEB2CF1-A372-4E04-BD92-5DA096699F16}" type="pres">
      <dgm:prSet presAssocID="{923BC028-6505-47D1-AFE4-C130C7AC844D}" presName="ConnectorPoint" presStyleLbl="lnNode1" presStyleIdx="2" presStyleCnt="3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EF147D88-8F82-41F1-9B88-7E6AFD093E8A}" type="pres">
      <dgm:prSet presAssocID="{923BC028-6505-47D1-AFE4-C130C7AC844D}" presName="DropPinPlaceHolder" presStyleCnt="0"/>
      <dgm:spPr/>
    </dgm:pt>
    <dgm:pt modelId="{EA087CE1-46CC-4FB3-B4AD-309234AAFE87}" type="pres">
      <dgm:prSet presAssocID="{923BC028-6505-47D1-AFE4-C130C7AC844D}" presName="DropPin" presStyleLbl="alignNode1" presStyleIdx="2" presStyleCnt="3"/>
      <dgm:spPr/>
    </dgm:pt>
    <dgm:pt modelId="{C09DE9ED-74E6-4839-BD98-A4FBC8C08BD8}" type="pres">
      <dgm:prSet presAssocID="{923BC028-6505-47D1-AFE4-C130C7AC844D}" presName="Ellipse" presStyleLbl="fgAcc1" presStyleIdx="3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02825D4A-7310-4E45-84A1-B6D6EFA9D41B}" type="pres">
      <dgm:prSet presAssocID="{923BC028-6505-47D1-AFE4-C130C7AC844D}" presName="L2TextContainer" presStyleLbl="revTx" presStyleIdx="4" presStyleCnt="6">
        <dgm:presLayoutVars>
          <dgm:bulletEnabled val="1"/>
        </dgm:presLayoutVars>
      </dgm:prSet>
      <dgm:spPr/>
    </dgm:pt>
    <dgm:pt modelId="{9045FA77-752E-4766-BC49-83928342663C}" type="pres">
      <dgm:prSet presAssocID="{923BC028-6505-47D1-AFE4-C130C7AC844D}" presName="L1TextContainer" presStyleLbl="revTx" presStyleIdx="5" presStyleCnt="6" custLinFactNeighborX="2281" custLinFactNeighborY="-10413">
        <dgm:presLayoutVars>
          <dgm:chMax val="1"/>
          <dgm:chPref val="1"/>
          <dgm:bulletEnabled val="1"/>
        </dgm:presLayoutVars>
      </dgm:prSet>
      <dgm:spPr/>
    </dgm:pt>
    <dgm:pt modelId="{F78D1BE8-6314-4CBF-82F2-7A3ECA21C592}" type="pres">
      <dgm:prSet presAssocID="{923BC028-6505-47D1-AFE4-C130C7AC844D}" presName="ConnectLine" presStyleLbl="sibTrans1D1" presStyleIdx="2" presStyleCnt="3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26E68E31-7ED7-48AF-82B6-38335B16769F}" type="pres">
      <dgm:prSet presAssocID="{923BC028-6505-47D1-AFE4-C130C7AC844D}" presName="EmptyPlaceHolder" presStyleCnt="0"/>
      <dgm:spPr/>
    </dgm:pt>
  </dgm:ptLst>
  <dgm:cxnLst>
    <dgm:cxn modelId="{754E7B07-6FF8-4B19-9659-A58639C09F05}" type="presOf" srcId="{923BC028-6505-47D1-AFE4-C130C7AC844D}" destId="{9045FA77-752E-4766-BC49-83928342663C}" srcOrd="0" destOrd="0" presId="urn:microsoft.com/office/officeart/2017/3/layout/DropPinTimeline"/>
    <dgm:cxn modelId="{5E14390E-470A-471F-808D-6FB89FB9E32E}" srcId="{9C461405-E899-4BDA-847F-F09BF45A07B4}" destId="{96C2D5B1-7D7A-44AB-9200-C205C1AB0DB9}" srcOrd="1" destOrd="0" parTransId="{FD6D8808-A2D2-412C-A027-21AC214AC556}" sibTransId="{F80A90AF-3AB4-4B6F-92D4-B1DADA57C58A}"/>
    <dgm:cxn modelId="{B4D6E97D-41AF-4C30-AA82-232F3DE5FB78}" srcId="{9C461405-E899-4BDA-847F-F09BF45A07B4}" destId="{923BC028-6505-47D1-AFE4-C130C7AC844D}" srcOrd="2" destOrd="0" parTransId="{ED1B9114-5022-478A-8D8E-00FF1C8F2BB2}" sibTransId="{CE130E62-B72B-48BB-BFDE-009BF38F445A}"/>
    <dgm:cxn modelId="{B6B342C1-EBFF-45A5-BE1D-CB2F62034396}" type="presOf" srcId="{96C2D5B1-7D7A-44AB-9200-C205C1AB0DB9}" destId="{B04E2B90-B641-4359-942D-47D59112DE24}" srcOrd="0" destOrd="0" presId="urn:microsoft.com/office/officeart/2017/3/layout/DropPinTimeline"/>
    <dgm:cxn modelId="{6308D8C5-CE60-477D-B2F1-2368EED27DEE}" srcId="{9C461405-E899-4BDA-847F-F09BF45A07B4}" destId="{C506C446-71DD-4800-B9EC-2CEA261C85FC}" srcOrd="0" destOrd="0" parTransId="{4C2E3476-1054-4346-8AF3-3D194482C959}" sibTransId="{5DC9CBD3-78FA-49E7-A51F-DE4246B3DA63}"/>
    <dgm:cxn modelId="{0442F6DA-0556-4120-BE6B-B632ECB20BF6}" type="presOf" srcId="{9C461405-E899-4BDA-847F-F09BF45A07B4}" destId="{90AF004A-E7F2-4B9A-8C34-3AC32288FE3C}" srcOrd="0" destOrd="0" presId="urn:microsoft.com/office/officeart/2017/3/layout/DropPinTimeline"/>
    <dgm:cxn modelId="{804CE9E1-AEBB-4A4E-A2EE-AC6F6537D89D}" type="presOf" srcId="{C506C446-71DD-4800-B9EC-2CEA261C85FC}" destId="{D8B41552-4633-4A07-A10D-33BD6ECA781E}" srcOrd="0" destOrd="0" presId="urn:microsoft.com/office/officeart/2017/3/layout/DropPinTimeline"/>
    <dgm:cxn modelId="{4A0A096F-CEEC-4619-8EE1-25B28F58E6C9}" type="presParOf" srcId="{90AF004A-E7F2-4B9A-8C34-3AC32288FE3C}" destId="{79E4F431-2D5E-450E-8E51-09919FA26C47}" srcOrd="0" destOrd="0" presId="urn:microsoft.com/office/officeart/2017/3/layout/DropPinTimeline"/>
    <dgm:cxn modelId="{53ED544A-8B52-40B4-8215-2F83C16138ED}" type="presParOf" srcId="{90AF004A-E7F2-4B9A-8C34-3AC32288FE3C}" destId="{86FDD78A-6D95-40F2-B859-176A25A88F1B}" srcOrd="1" destOrd="0" presId="urn:microsoft.com/office/officeart/2017/3/layout/DropPinTimeline"/>
    <dgm:cxn modelId="{638BFD59-1877-41FE-AB51-41C4FCBC6703}" type="presParOf" srcId="{86FDD78A-6D95-40F2-B859-176A25A88F1B}" destId="{BE0ABB15-C323-4F6B-8455-042CC92AA1BA}" srcOrd="0" destOrd="0" presId="urn:microsoft.com/office/officeart/2017/3/layout/DropPinTimeline"/>
    <dgm:cxn modelId="{A74063F1-3740-4F5C-9AD2-F4BD46C6985A}" type="presParOf" srcId="{BE0ABB15-C323-4F6B-8455-042CC92AA1BA}" destId="{F61F01B2-495B-4E80-B19A-3D5F33285DE5}" srcOrd="0" destOrd="0" presId="urn:microsoft.com/office/officeart/2017/3/layout/DropPinTimeline"/>
    <dgm:cxn modelId="{0B6FAB4F-B1A4-48C0-96A1-EE302035499F}" type="presParOf" srcId="{BE0ABB15-C323-4F6B-8455-042CC92AA1BA}" destId="{FB369683-4C81-4D28-BB52-E6AE5D874656}" srcOrd="1" destOrd="0" presId="urn:microsoft.com/office/officeart/2017/3/layout/DropPinTimeline"/>
    <dgm:cxn modelId="{2AEFB96E-EE3B-42B4-9242-749162AF3BA7}" type="presParOf" srcId="{FB369683-4C81-4D28-BB52-E6AE5D874656}" destId="{A0847E7E-6E15-47CE-9D6C-C58B22651211}" srcOrd="0" destOrd="0" presId="urn:microsoft.com/office/officeart/2017/3/layout/DropPinTimeline"/>
    <dgm:cxn modelId="{CD77B644-3055-4B20-9424-167BDCFEC14A}" type="presParOf" srcId="{FB369683-4C81-4D28-BB52-E6AE5D874656}" destId="{E5BF9E1A-EEF3-4A06-A69D-8D9078F17967}" srcOrd="1" destOrd="0" presId="urn:microsoft.com/office/officeart/2017/3/layout/DropPinTimeline"/>
    <dgm:cxn modelId="{2EFC313A-A403-4D88-AAAD-D79AC302A8BE}" type="presParOf" srcId="{BE0ABB15-C323-4F6B-8455-042CC92AA1BA}" destId="{C13B4051-0770-4031-9EA5-4C4345355EF0}" srcOrd="2" destOrd="0" presId="urn:microsoft.com/office/officeart/2017/3/layout/DropPinTimeline"/>
    <dgm:cxn modelId="{90E2EDFF-F229-4D62-BE6C-D7073B98C7D0}" type="presParOf" srcId="{BE0ABB15-C323-4F6B-8455-042CC92AA1BA}" destId="{D8B41552-4633-4A07-A10D-33BD6ECA781E}" srcOrd="3" destOrd="0" presId="urn:microsoft.com/office/officeart/2017/3/layout/DropPinTimeline"/>
    <dgm:cxn modelId="{7B921A06-4391-4019-AD47-27D9344F3F1B}" type="presParOf" srcId="{BE0ABB15-C323-4F6B-8455-042CC92AA1BA}" destId="{6DB38C9C-DDD8-49AF-8A63-6696F37F2744}" srcOrd="4" destOrd="0" presId="urn:microsoft.com/office/officeart/2017/3/layout/DropPinTimeline"/>
    <dgm:cxn modelId="{7A745501-D813-42D9-B87F-EED1D067AA25}" type="presParOf" srcId="{BE0ABB15-C323-4F6B-8455-042CC92AA1BA}" destId="{386A31CD-6E4F-4FF4-A30A-23365EC4E6D2}" srcOrd="5" destOrd="0" presId="urn:microsoft.com/office/officeart/2017/3/layout/DropPinTimeline"/>
    <dgm:cxn modelId="{2D414F35-4D14-49FF-987F-1AF9B20EDC75}" type="presParOf" srcId="{86FDD78A-6D95-40F2-B859-176A25A88F1B}" destId="{E249277F-FADC-4DF6-85AE-CECA1738078F}" srcOrd="1" destOrd="0" presId="urn:microsoft.com/office/officeart/2017/3/layout/DropPinTimeline"/>
    <dgm:cxn modelId="{0F5F53E2-12FB-4DB9-BB57-05B1B3E223EA}" type="presParOf" srcId="{86FDD78A-6D95-40F2-B859-176A25A88F1B}" destId="{8FF807FA-8C7E-436B-A7F1-A97344FAB5B9}" srcOrd="2" destOrd="0" presId="urn:microsoft.com/office/officeart/2017/3/layout/DropPinTimeline"/>
    <dgm:cxn modelId="{22DDE8A3-2FA9-4123-B206-F5D037849098}" type="presParOf" srcId="{8FF807FA-8C7E-436B-A7F1-A97344FAB5B9}" destId="{2F37D170-275F-4014-9B66-B38F55AA3F65}" srcOrd="0" destOrd="0" presId="urn:microsoft.com/office/officeart/2017/3/layout/DropPinTimeline"/>
    <dgm:cxn modelId="{134259CA-FFD1-4A47-A773-6307944CFDA5}" type="presParOf" srcId="{8FF807FA-8C7E-436B-A7F1-A97344FAB5B9}" destId="{71E9BDC5-4ADE-4D25-AC52-9D1BE25D0187}" srcOrd="1" destOrd="0" presId="urn:microsoft.com/office/officeart/2017/3/layout/DropPinTimeline"/>
    <dgm:cxn modelId="{FF22E1E1-43FC-457E-9EA4-8903C7994535}" type="presParOf" srcId="{71E9BDC5-4ADE-4D25-AC52-9D1BE25D0187}" destId="{0AFF2147-3759-4332-A275-FF8507D17E70}" srcOrd="0" destOrd="0" presId="urn:microsoft.com/office/officeart/2017/3/layout/DropPinTimeline"/>
    <dgm:cxn modelId="{0A2A2744-E130-42E9-9D26-85476C622792}" type="presParOf" srcId="{71E9BDC5-4ADE-4D25-AC52-9D1BE25D0187}" destId="{BF5C1AD6-9550-4F27-94F4-A80D44EFDF43}" srcOrd="1" destOrd="0" presId="urn:microsoft.com/office/officeart/2017/3/layout/DropPinTimeline"/>
    <dgm:cxn modelId="{01E95F0F-BAC3-4074-9F04-70EAFEA495EC}" type="presParOf" srcId="{8FF807FA-8C7E-436B-A7F1-A97344FAB5B9}" destId="{4B6D73B5-5A28-4D18-ABD7-5CF35A589C8A}" srcOrd="2" destOrd="0" presId="urn:microsoft.com/office/officeart/2017/3/layout/DropPinTimeline"/>
    <dgm:cxn modelId="{A17DEBD6-392B-402A-A12F-9A33549C2354}" type="presParOf" srcId="{8FF807FA-8C7E-436B-A7F1-A97344FAB5B9}" destId="{B04E2B90-B641-4359-942D-47D59112DE24}" srcOrd="3" destOrd="0" presId="urn:microsoft.com/office/officeart/2017/3/layout/DropPinTimeline"/>
    <dgm:cxn modelId="{A7FC2D17-A802-4077-A9C0-69885963FE45}" type="presParOf" srcId="{8FF807FA-8C7E-436B-A7F1-A97344FAB5B9}" destId="{165656CC-241C-48F6-83A8-0DAB1014E2D6}" srcOrd="4" destOrd="0" presId="urn:microsoft.com/office/officeart/2017/3/layout/DropPinTimeline"/>
    <dgm:cxn modelId="{8430EFAB-1F15-459A-A177-3C2F1D0B90DD}" type="presParOf" srcId="{8FF807FA-8C7E-436B-A7F1-A97344FAB5B9}" destId="{12DF6020-951E-48AA-AB95-5B89D6AE0E95}" srcOrd="5" destOrd="0" presId="urn:microsoft.com/office/officeart/2017/3/layout/DropPinTimeline"/>
    <dgm:cxn modelId="{D1AD8B62-0B8F-49F7-B9C6-6F4719389624}" type="presParOf" srcId="{86FDD78A-6D95-40F2-B859-176A25A88F1B}" destId="{75D7D005-A4BE-4833-A632-CCCB52ED2D1A}" srcOrd="3" destOrd="0" presId="urn:microsoft.com/office/officeart/2017/3/layout/DropPinTimeline"/>
    <dgm:cxn modelId="{44870F8B-0226-4A6B-A829-AAD6090DB45A}" type="presParOf" srcId="{86FDD78A-6D95-40F2-B859-176A25A88F1B}" destId="{24C7F27D-DC82-4272-B7E1-10F783A0D0CB}" srcOrd="4" destOrd="0" presId="urn:microsoft.com/office/officeart/2017/3/layout/DropPinTimeline"/>
    <dgm:cxn modelId="{912FF9FD-5FC5-425A-B481-6FDD6E58E193}" type="presParOf" srcId="{24C7F27D-DC82-4272-B7E1-10F783A0D0CB}" destId="{CDEB2CF1-A372-4E04-BD92-5DA096699F16}" srcOrd="0" destOrd="0" presId="urn:microsoft.com/office/officeart/2017/3/layout/DropPinTimeline"/>
    <dgm:cxn modelId="{B4D63014-D095-448D-8610-EC01C51E77D6}" type="presParOf" srcId="{24C7F27D-DC82-4272-B7E1-10F783A0D0CB}" destId="{EF147D88-8F82-41F1-9B88-7E6AFD093E8A}" srcOrd="1" destOrd="0" presId="urn:microsoft.com/office/officeart/2017/3/layout/DropPinTimeline"/>
    <dgm:cxn modelId="{32BAAFFA-6D23-4C9B-B95B-9D3F2CD01F6B}" type="presParOf" srcId="{EF147D88-8F82-41F1-9B88-7E6AFD093E8A}" destId="{EA087CE1-46CC-4FB3-B4AD-309234AAFE87}" srcOrd="0" destOrd="0" presId="urn:microsoft.com/office/officeart/2017/3/layout/DropPinTimeline"/>
    <dgm:cxn modelId="{68E9B35E-7B84-4726-8D40-4C6316B3D032}" type="presParOf" srcId="{EF147D88-8F82-41F1-9B88-7E6AFD093E8A}" destId="{C09DE9ED-74E6-4839-BD98-A4FBC8C08BD8}" srcOrd="1" destOrd="0" presId="urn:microsoft.com/office/officeart/2017/3/layout/DropPinTimeline"/>
    <dgm:cxn modelId="{62C7593D-5F24-40FD-A891-5C0FF4B16973}" type="presParOf" srcId="{24C7F27D-DC82-4272-B7E1-10F783A0D0CB}" destId="{02825D4A-7310-4E45-84A1-B6D6EFA9D41B}" srcOrd="2" destOrd="0" presId="urn:microsoft.com/office/officeart/2017/3/layout/DropPinTimeline"/>
    <dgm:cxn modelId="{0CEC8F49-68F0-4C81-80A6-7CC97A6DD5A7}" type="presParOf" srcId="{24C7F27D-DC82-4272-B7E1-10F783A0D0CB}" destId="{9045FA77-752E-4766-BC49-83928342663C}" srcOrd="3" destOrd="0" presId="urn:microsoft.com/office/officeart/2017/3/layout/DropPinTimeline"/>
    <dgm:cxn modelId="{7A313E72-11D8-4C43-85EC-1CD0B4ADDD4F}" type="presParOf" srcId="{24C7F27D-DC82-4272-B7E1-10F783A0D0CB}" destId="{F78D1BE8-6314-4CBF-82F2-7A3ECA21C592}" srcOrd="4" destOrd="0" presId="urn:microsoft.com/office/officeart/2017/3/layout/DropPinTimeline"/>
    <dgm:cxn modelId="{B9E69BFF-B993-4DF5-9E9B-3A92B979F39C}" type="presParOf" srcId="{24C7F27D-DC82-4272-B7E1-10F783A0D0CB}" destId="{26E68E31-7ED7-48AF-82B6-38335B16769F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F36647C-5324-4D08-BDB9-3E9B48F20DD1}" type="doc">
      <dgm:prSet loTypeId="urn:microsoft.com/office/officeart/2017/3/layout/DropPinTimeline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88DC0D2-4444-40D9-B858-BFDAA4CDF353}">
      <dgm:prSet/>
      <dgm:spPr/>
      <dgm:t>
        <a:bodyPr/>
        <a:lstStyle/>
        <a:p>
          <a:pPr>
            <a:defRPr b="1"/>
          </a:pPr>
          <a:r>
            <a:rPr lang="en-US"/>
            <a:t>January</a:t>
          </a:r>
        </a:p>
      </dgm:t>
    </dgm:pt>
    <dgm:pt modelId="{60EC43F8-DA40-49EB-BE0E-26C4F395A32F}" type="parTrans" cxnId="{3F45C7ED-0090-4AEE-94EB-07E2C9AD936C}">
      <dgm:prSet/>
      <dgm:spPr/>
      <dgm:t>
        <a:bodyPr/>
        <a:lstStyle/>
        <a:p>
          <a:endParaRPr lang="en-US"/>
        </a:p>
      </dgm:t>
    </dgm:pt>
    <dgm:pt modelId="{4EEDA2CB-0EF6-42B3-B5C1-B63D1AE6F3BD}" type="sibTrans" cxnId="{3F45C7ED-0090-4AEE-94EB-07E2C9AD936C}">
      <dgm:prSet/>
      <dgm:spPr/>
      <dgm:t>
        <a:bodyPr/>
        <a:lstStyle/>
        <a:p>
          <a:endParaRPr lang="en-US"/>
        </a:p>
      </dgm:t>
    </dgm:pt>
    <dgm:pt modelId="{35F31090-FA02-4466-AFB5-87B6DF07BCD7}">
      <dgm:prSet/>
      <dgm:spPr/>
      <dgm:t>
        <a:bodyPr/>
        <a:lstStyle/>
        <a:p>
          <a:r>
            <a:rPr lang="en-US"/>
            <a:t>Equitable and Respectful Care Education and Implementation</a:t>
          </a:r>
        </a:p>
      </dgm:t>
    </dgm:pt>
    <dgm:pt modelId="{02A6F90A-4E5E-47CC-991A-2BAB3C5B6268}" type="parTrans" cxnId="{EFA22CE1-2C52-470A-9938-CD484B2EA0F6}">
      <dgm:prSet/>
      <dgm:spPr/>
      <dgm:t>
        <a:bodyPr/>
        <a:lstStyle/>
        <a:p>
          <a:endParaRPr lang="en-US"/>
        </a:p>
      </dgm:t>
    </dgm:pt>
    <dgm:pt modelId="{F084EB43-00FB-414A-AD2A-3F7880D78FB6}" type="sibTrans" cxnId="{EFA22CE1-2C52-470A-9938-CD484B2EA0F6}">
      <dgm:prSet/>
      <dgm:spPr/>
      <dgm:t>
        <a:bodyPr/>
        <a:lstStyle/>
        <a:p>
          <a:endParaRPr lang="en-US"/>
        </a:p>
      </dgm:t>
    </dgm:pt>
    <dgm:pt modelId="{71889293-8C1F-4AD7-B68C-3FE0C7D16B13}">
      <dgm:prSet/>
      <dgm:spPr/>
      <dgm:t>
        <a:bodyPr/>
        <a:lstStyle/>
        <a:p>
          <a:pPr>
            <a:defRPr b="1"/>
          </a:pPr>
          <a:r>
            <a:rPr lang="en-US"/>
            <a:t>February</a:t>
          </a:r>
        </a:p>
      </dgm:t>
    </dgm:pt>
    <dgm:pt modelId="{FDAA98F7-80E5-459E-B1FE-A3F0CB591E6B}" type="parTrans" cxnId="{D1029826-F304-40AB-8A45-E110812DD908}">
      <dgm:prSet/>
      <dgm:spPr/>
      <dgm:t>
        <a:bodyPr/>
        <a:lstStyle/>
        <a:p>
          <a:endParaRPr lang="en-US"/>
        </a:p>
      </dgm:t>
    </dgm:pt>
    <dgm:pt modelId="{704D613E-FC16-44F7-BE3D-38E429095BE1}" type="sibTrans" cxnId="{D1029826-F304-40AB-8A45-E110812DD908}">
      <dgm:prSet/>
      <dgm:spPr/>
      <dgm:t>
        <a:bodyPr/>
        <a:lstStyle/>
        <a:p>
          <a:endParaRPr lang="en-US"/>
        </a:p>
      </dgm:t>
    </dgm:pt>
    <dgm:pt modelId="{CD7881FF-A15F-410F-B09D-1E890C99EC42}">
      <dgm:prSet/>
      <dgm:spPr/>
      <dgm:t>
        <a:bodyPr/>
        <a:lstStyle/>
        <a:p>
          <a:r>
            <a:rPr lang="en-US" dirty="0"/>
            <a:t>Equitable and Respectful Care Education and Implementation Part 2</a:t>
          </a:r>
        </a:p>
      </dgm:t>
    </dgm:pt>
    <dgm:pt modelId="{E5D9AAA8-90BA-4237-8261-FCC83548659B}" type="parTrans" cxnId="{BAADE26F-6135-4A42-861F-8734B5021E8C}">
      <dgm:prSet/>
      <dgm:spPr/>
      <dgm:t>
        <a:bodyPr/>
        <a:lstStyle/>
        <a:p>
          <a:endParaRPr lang="en-US"/>
        </a:p>
      </dgm:t>
    </dgm:pt>
    <dgm:pt modelId="{6AF0B477-E943-470E-9479-F3363B74625A}" type="sibTrans" cxnId="{BAADE26F-6135-4A42-861F-8734B5021E8C}">
      <dgm:prSet/>
      <dgm:spPr/>
      <dgm:t>
        <a:bodyPr/>
        <a:lstStyle/>
        <a:p>
          <a:endParaRPr lang="en-US"/>
        </a:p>
      </dgm:t>
    </dgm:pt>
    <dgm:pt modelId="{782B7E6D-275E-44FE-B64E-CF4DCB18CE03}">
      <dgm:prSet/>
      <dgm:spPr/>
      <dgm:t>
        <a:bodyPr/>
        <a:lstStyle/>
        <a:p>
          <a:pPr>
            <a:defRPr b="1"/>
          </a:pPr>
          <a:r>
            <a:rPr lang="en-US"/>
            <a:t>March</a:t>
          </a:r>
        </a:p>
      </dgm:t>
    </dgm:pt>
    <dgm:pt modelId="{7E3DD2C2-FCF7-483B-BBFA-964A0E2EAC0C}" type="parTrans" cxnId="{8DCA5369-4987-4395-B577-3F77808A3F83}">
      <dgm:prSet/>
      <dgm:spPr/>
      <dgm:t>
        <a:bodyPr/>
        <a:lstStyle/>
        <a:p>
          <a:endParaRPr lang="en-US"/>
        </a:p>
      </dgm:t>
    </dgm:pt>
    <dgm:pt modelId="{7A44FBB3-0697-4CC5-A841-27A346413981}" type="sibTrans" cxnId="{8DCA5369-4987-4395-B577-3F77808A3F83}">
      <dgm:prSet/>
      <dgm:spPr/>
      <dgm:t>
        <a:bodyPr/>
        <a:lstStyle/>
        <a:p>
          <a:endParaRPr lang="en-US"/>
        </a:p>
      </dgm:t>
    </dgm:pt>
    <dgm:pt modelId="{3941DDB8-F743-41AB-B193-8BE13A9EBF36}">
      <dgm:prSet/>
      <dgm:spPr/>
      <dgm:t>
        <a:bodyPr/>
        <a:lstStyle/>
        <a:p>
          <a:r>
            <a:rPr lang="en-US"/>
            <a:t>Safe Sleep Environment Education and Implementation</a:t>
          </a:r>
        </a:p>
      </dgm:t>
    </dgm:pt>
    <dgm:pt modelId="{58428392-E344-41F5-84FA-76EEA50DA237}" type="parTrans" cxnId="{F4F8E7B3-B5C3-4ADE-A4BF-BF9089E937FD}">
      <dgm:prSet/>
      <dgm:spPr/>
      <dgm:t>
        <a:bodyPr/>
        <a:lstStyle/>
        <a:p>
          <a:endParaRPr lang="en-US"/>
        </a:p>
      </dgm:t>
    </dgm:pt>
    <dgm:pt modelId="{6DEDE53F-E007-4201-94B1-14C6431F9A09}" type="sibTrans" cxnId="{F4F8E7B3-B5C3-4ADE-A4BF-BF9089E937FD}">
      <dgm:prSet/>
      <dgm:spPr/>
      <dgm:t>
        <a:bodyPr/>
        <a:lstStyle/>
        <a:p>
          <a:endParaRPr lang="en-US"/>
        </a:p>
      </dgm:t>
    </dgm:pt>
    <dgm:pt modelId="{08572C69-19EE-42C6-BA4D-603CD7F3307B}">
      <dgm:prSet/>
      <dgm:spPr/>
      <dgm:t>
        <a:bodyPr/>
        <a:lstStyle/>
        <a:p>
          <a:pPr>
            <a:defRPr b="1"/>
          </a:pPr>
          <a:r>
            <a:rPr lang="en-US"/>
            <a:t>April</a:t>
          </a:r>
        </a:p>
      </dgm:t>
    </dgm:pt>
    <dgm:pt modelId="{F36C70AE-C5E9-45FD-B03D-266D24EF552D}" type="parTrans" cxnId="{C7566451-E4E4-4666-9F97-113B57CFD5DA}">
      <dgm:prSet/>
      <dgm:spPr/>
      <dgm:t>
        <a:bodyPr/>
        <a:lstStyle/>
        <a:p>
          <a:endParaRPr lang="en-US"/>
        </a:p>
      </dgm:t>
    </dgm:pt>
    <dgm:pt modelId="{82A263F1-86DA-4665-B566-AA56CDF4A9BB}" type="sibTrans" cxnId="{C7566451-E4E4-4666-9F97-113B57CFD5DA}">
      <dgm:prSet/>
      <dgm:spPr/>
      <dgm:t>
        <a:bodyPr/>
        <a:lstStyle/>
        <a:p>
          <a:endParaRPr lang="en-US"/>
        </a:p>
      </dgm:t>
    </dgm:pt>
    <dgm:pt modelId="{788A36FF-269B-4055-95FF-3C5324B20379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Safe Sleep </a:t>
          </a:r>
          <a:r>
            <a:rPr lang="en-US" dirty="0">
              <a:solidFill>
                <a:schemeClr val="tx1"/>
              </a:solidFill>
              <a:latin typeface="Calibri" panose="020F0502020204030204"/>
            </a:rPr>
            <a:t>Environment Education </a:t>
          </a:r>
          <a:r>
            <a:rPr lang="en-US" dirty="0">
              <a:solidFill>
                <a:schemeClr val="tx1"/>
              </a:solidFill>
            </a:rPr>
            <a:t>and </a:t>
          </a:r>
          <a:r>
            <a:rPr lang="en-US" dirty="0">
              <a:solidFill>
                <a:schemeClr val="tx1"/>
              </a:solidFill>
              <a:latin typeface="Calibri" panose="020F0502020204030204"/>
            </a:rPr>
            <a:t>Implementation</a:t>
          </a:r>
          <a:endParaRPr lang="en-US" dirty="0">
            <a:solidFill>
              <a:schemeClr val="tx1"/>
            </a:solidFill>
          </a:endParaRPr>
        </a:p>
      </dgm:t>
    </dgm:pt>
    <dgm:pt modelId="{CCA24C21-3B1C-402F-8FDC-C2B89962FAF9}" type="parTrans" cxnId="{6679F8F8-4DD6-45EF-A5D8-9725BB126DC4}">
      <dgm:prSet/>
      <dgm:spPr/>
      <dgm:t>
        <a:bodyPr/>
        <a:lstStyle/>
        <a:p>
          <a:endParaRPr lang="en-US"/>
        </a:p>
      </dgm:t>
    </dgm:pt>
    <dgm:pt modelId="{C51466E5-D8D4-4B32-8450-8F1E54EA0DC1}" type="sibTrans" cxnId="{6679F8F8-4DD6-45EF-A5D8-9725BB126DC4}">
      <dgm:prSet/>
      <dgm:spPr/>
      <dgm:t>
        <a:bodyPr/>
        <a:lstStyle/>
        <a:p>
          <a:endParaRPr lang="en-US"/>
        </a:p>
      </dgm:t>
    </dgm:pt>
    <dgm:pt modelId="{1BECC204-0B33-4492-B18F-BFFE0A1C4F24}" type="pres">
      <dgm:prSet presAssocID="{FF36647C-5324-4D08-BDB9-3E9B48F20DD1}" presName="root" presStyleCnt="0">
        <dgm:presLayoutVars>
          <dgm:chMax/>
          <dgm:chPref/>
          <dgm:animLvl val="lvl"/>
        </dgm:presLayoutVars>
      </dgm:prSet>
      <dgm:spPr/>
    </dgm:pt>
    <dgm:pt modelId="{3348F4B1-7F5F-4A53-A952-22DBCA5BB3EC}" type="pres">
      <dgm:prSet presAssocID="{FF36647C-5324-4D08-BDB9-3E9B48F20DD1}" presName="divider" presStyleLbl="fgAcc1" presStyleIdx="0" presStyleCnt="5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0AA2C8D3-19FD-4BCC-B35D-CCF603F7C82D}" type="pres">
      <dgm:prSet presAssocID="{FF36647C-5324-4D08-BDB9-3E9B48F20DD1}" presName="nodes" presStyleCnt="0">
        <dgm:presLayoutVars>
          <dgm:chMax/>
          <dgm:chPref/>
          <dgm:animLvl val="lvl"/>
        </dgm:presLayoutVars>
      </dgm:prSet>
      <dgm:spPr/>
    </dgm:pt>
    <dgm:pt modelId="{7647DCFA-31EF-4955-B48B-77294C2049C0}" type="pres">
      <dgm:prSet presAssocID="{888DC0D2-4444-40D9-B858-BFDAA4CDF353}" presName="composite" presStyleCnt="0"/>
      <dgm:spPr/>
    </dgm:pt>
    <dgm:pt modelId="{D22A234F-1E9D-4969-A922-A19F09F4C458}" type="pres">
      <dgm:prSet presAssocID="{888DC0D2-4444-40D9-B858-BFDAA4CDF353}" presName="ConnectorPoint" presStyleLbl="lnNode1" presStyleIdx="0" presStyleCnt="4"/>
      <dgm:spPr>
        <a:solidFill>
          <a:schemeClr val="accent2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794BEF26-121F-48B4-9A3A-6B5F50F65E99}" type="pres">
      <dgm:prSet presAssocID="{888DC0D2-4444-40D9-B858-BFDAA4CDF353}" presName="DropPinPlaceHolder" presStyleCnt="0"/>
      <dgm:spPr/>
    </dgm:pt>
    <dgm:pt modelId="{A9511F33-CA42-4152-A4A1-9DD03A2021F8}" type="pres">
      <dgm:prSet presAssocID="{888DC0D2-4444-40D9-B858-BFDAA4CDF353}" presName="DropPin" presStyleLbl="alignNode1" presStyleIdx="0" presStyleCnt="4"/>
      <dgm:spPr/>
    </dgm:pt>
    <dgm:pt modelId="{68D7ED5E-FB27-42A2-AA5A-D2F167CAF615}" type="pres">
      <dgm:prSet presAssocID="{888DC0D2-4444-40D9-B858-BFDAA4CDF353}" presName="Ellipse" presStyleLbl="fgAcc1" presStyleIdx="1" presStyleCnt="5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FCFABF29-6938-49B1-A567-2C728891E9CA}" type="pres">
      <dgm:prSet presAssocID="{888DC0D2-4444-40D9-B858-BFDAA4CDF353}" presName="L2TextContainer" presStyleLbl="revTx" presStyleIdx="0" presStyleCnt="8">
        <dgm:presLayoutVars>
          <dgm:bulletEnabled val="1"/>
        </dgm:presLayoutVars>
      </dgm:prSet>
      <dgm:spPr/>
    </dgm:pt>
    <dgm:pt modelId="{9645BC26-64C3-4BAD-BB69-975CFA0A023B}" type="pres">
      <dgm:prSet presAssocID="{888DC0D2-4444-40D9-B858-BFDAA4CDF353}" presName="L1TextContainer" presStyleLbl="revTx" presStyleIdx="1" presStyleCnt="8">
        <dgm:presLayoutVars>
          <dgm:chMax val="1"/>
          <dgm:chPref val="1"/>
          <dgm:bulletEnabled val="1"/>
        </dgm:presLayoutVars>
      </dgm:prSet>
      <dgm:spPr/>
    </dgm:pt>
    <dgm:pt modelId="{0878A462-46B3-4B25-9268-DE75AAAA8082}" type="pres">
      <dgm:prSet presAssocID="{888DC0D2-4444-40D9-B858-BFDAA4CDF353}" presName="ConnectLine" presStyleLbl="sibTrans1D1" presStyleIdx="0" presStyleCnt="4"/>
      <dgm:spPr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AA4F517A-B97A-4D6D-A03F-37D75BFB37CD}" type="pres">
      <dgm:prSet presAssocID="{888DC0D2-4444-40D9-B858-BFDAA4CDF353}" presName="EmptyPlaceHolder" presStyleCnt="0"/>
      <dgm:spPr/>
    </dgm:pt>
    <dgm:pt modelId="{839A820A-31DA-4797-8204-7F7EF9F5555F}" type="pres">
      <dgm:prSet presAssocID="{4EEDA2CB-0EF6-42B3-B5C1-B63D1AE6F3BD}" presName="spaceBetweenRectangles" presStyleCnt="0"/>
      <dgm:spPr/>
    </dgm:pt>
    <dgm:pt modelId="{8C66825A-5B96-44A4-805E-158B893449C4}" type="pres">
      <dgm:prSet presAssocID="{71889293-8C1F-4AD7-B68C-3FE0C7D16B13}" presName="composite" presStyleCnt="0"/>
      <dgm:spPr/>
    </dgm:pt>
    <dgm:pt modelId="{9D2E5EF5-7EEC-4C17-8531-A7A2D99FD415}" type="pres">
      <dgm:prSet presAssocID="{71889293-8C1F-4AD7-B68C-3FE0C7D16B13}" presName="ConnectorPoint" presStyleLbl="lnNode1" presStyleIdx="1" presStyleCnt="4"/>
      <dgm:spPr>
        <a:solidFill>
          <a:schemeClr val="accent3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073D0FEF-32C2-487B-9F98-8494D9AF969D}" type="pres">
      <dgm:prSet presAssocID="{71889293-8C1F-4AD7-B68C-3FE0C7D16B13}" presName="DropPinPlaceHolder" presStyleCnt="0"/>
      <dgm:spPr/>
    </dgm:pt>
    <dgm:pt modelId="{A75CD570-BD88-4B9C-A3F3-94C8F8344772}" type="pres">
      <dgm:prSet presAssocID="{71889293-8C1F-4AD7-B68C-3FE0C7D16B13}" presName="DropPin" presStyleLbl="alignNode1" presStyleIdx="1" presStyleCnt="4"/>
      <dgm:spPr/>
    </dgm:pt>
    <dgm:pt modelId="{302517CD-6564-4F8E-8536-A67BF33B4069}" type="pres">
      <dgm:prSet presAssocID="{71889293-8C1F-4AD7-B68C-3FE0C7D16B13}" presName="Ellipse" presStyleLbl="fgAcc1" presStyleIdx="2" presStyleCnt="5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F8BF2188-6BF4-47CB-ACB2-C7EBAAA124D8}" type="pres">
      <dgm:prSet presAssocID="{71889293-8C1F-4AD7-B68C-3FE0C7D16B13}" presName="L2TextContainer" presStyleLbl="revTx" presStyleIdx="2" presStyleCnt="8">
        <dgm:presLayoutVars>
          <dgm:bulletEnabled val="1"/>
        </dgm:presLayoutVars>
      </dgm:prSet>
      <dgm:spPr/>
    </dgm:pt>
    <dgm:pt modelId="{D0934DA1-1A1E-4382-BFE9-4832C18E047F}" type="pres">
      <dgm:prSet presAssocID="{71889293-8C1F-4AD7-B68C-3FE0C7D16B13}" presName="L1TextContainer" presStyleLbl="revTx" presStyleIdx="3" presStyleCnt="8">
        <dgm:presLayoutVars>
          <dgm:chMax val="1"/>
          <dgm:chPref val="1"/>
          <dgm:bulletEnabled val="1"/>
        </dgm:presLayoutVars>
      </dgm:prSet>
      <dgm:spPr/>
    </dgm:pt>
    <dgm:pt modelId="{FC6D5085-BC9A-425C-9655-F4EAAB9422C6}" type="pres">
      <dgm:prSet presAssocID="{71889293-8C1F-4AD7-B68C-3FE0C7D16B13}" presName="ConnectLine" presStyleLbl="sibTrans1D1" presStyleIdx="1" presStyleCnt="4"/>
      <dgm:spPr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7CFA46A4-9BD6-49D6-94DC-1AE13D5F412E}" type="pres">
      <dgm:prSet presAssocID="{71889293-8C1F-4AD7-B68C-3FE0C7D16B13}" presName="EmptyPlaceHolder" presStyleCnt="0"/>
      <dgm:spPr/>
    </dgm:pt>
    <dgm:pt modelId="{9B67900B-CDC5-49D7-8DC9-8FE2E33D3D7E}" type="pres">
      <dgm:prSet presAssocID="{704D613E-FC16-44F7-BE3D-38E429095BE1}" presName="spaceBetweenRectangles" presStyleCnt="0"/>
      <dgm:spPr/>
    </dgm:pt>
    <dgm:pt modelId="{3D4DFCF6-A2AE-4455-8EA6-7F92B134DC1A}" type="pres">
      <dgm:prSet presAssocID="{782B7E6D-275E-44FE-B64E-CF4DCB18CE03}" presName="composite" presStyleCnt="0"/>
      <dgm:spPr/>
    </dgm:pt>
    <dgm:pt modelId="{CC3026BE-E675-4141-8C6B-877C71AFCD1B}" type="pres">
      <dgm:prSet presAssocID="{782B7E6D-275E-44FE-B64E-CF4DCB18CE03}" presName="ConnectorPoint" presStyleLbl="lnNode1" presStyleIdx="2" presStyleCnt="4"/>
      <dgm:spPr>
        <a:solidFill>
          <a:schemeClr val="accent4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3AF1427C-042E-4DCE-B899-4E00DBD112C1}" type="pres">
      <dgm:prSet presAssocID="{782B7E6D-275E-44FE-B64E-CF4DCB18CE03}" presName="DropPinPlaceHolder" presStyleCnt="0"/>
      <dgm:spPr/>
    </dgm:pt>
    <dgm:pt modelId="{03390ACF-8941-4B21-81FE-E24DE182F400}" type="pres">
      <dgm:prSet presAssocID="{782B7E6D-275E-44FE-B64E-CF4DCB18CE03}" presName="DropPin" presStyleLbl="alignNode1" presStyleIdx="2" presStyleCnt="4"/>
      <dgm:spPr/>
    </dgm:pt>
    <dgm:pt modelId="{43CE6054-7DA9-41CA-A822-B5AEFEF9A36D}" type="pres">
      <dgm:prSet presAssocID="{782B7E6D-275E-44FE-B64E-CF4DCB18CE03}" presName="Ellipse" presStyleLbl="fgAcc1" presStyleIdx="3" presStyleCnt="5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BE565CC8-066C-44C8-A00D-95B6F78719F0}" type="pres">
      <dgm:prSet presAssocID="{782B7E6D-275E-44FE-B64E-CF4DCB18CE03}" presName="L2TextContainer" presStyleLbl="revTx" presStyleIdx="4" presStyleCnt="8">
        <dgm:presLayoutVars>
          <dgm:bulletEnabled val="1"/>
        </dgm:presLayoutVars>
      </dgm:prSet>
      <dgm:spPr/>
    </dgm:pt>
    <dgm:pt modelId="{4183CEC0-935A-410C-86C6-DD5A3092D739}" type="pres">
      <dgm:prSet presAssocID="{782B7E6D-275E-44FE-B64E-CF4DCB18CE03}" presName="L1TextContainer" presStyleLbl="revTx" presStyleIdx="5" presStyleCnt="8">
        <dgm:presLayoutVars>
          <dgm:chMax val="1"/>
          <dgm:chPref val="1"/>
          <dgm:bulletEnabled val="1"/>
        </dgm:presLayoutVars>
      </dgm:prSet>
      <dgm:spPr/>
    </dgm:pt>
    <dgm:pt modelId="{8C47003B-F241-4006-92DC-837EB791561B}" type="pres">
      <dgm:prSet presAssocID="{782B7E6D-275E-44FE-B64E-CF4DCB18CE03}" presName="ConnectLine" presStyleLbl="sibTrans1D1" presStyleIdx="2" presStyleCnt="4"/>
      <dgm:spPr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84F423D-ECA1-4D55-B1B0-2AD397FD43B9}" type="pres">
      <dgm:prSet presAssocID="{782B7E6D-275E-44FE-B64E-CF4DCB18CE03}" presName="EmptyPlaceHolder" presStyleCnt="0"/>
      <dgm:spPr/>
    </dgm:pt>
    <dgm:pt modelId="{C4A8F019-51C6-4150-A9A3-7778464D4D9A}" type="pres">
      <dgm:prSet presAssocID="{7A44FBB3-0697-4CC5-A841-27A346413981}" presName="spaceBetweenRectangles" presStyleCnt="0"/>
      <dgm:spPr/>
    </dgm:pt>
    <dgm:pt modelId="{1627D70B-BA61-4CFB-8CD9-DFD6FD208DB8}" type="pres">
      <dgm:prSet presAssocID="{08572C69-19EE-42C6-BA4D-603CD7F3307B}" presName="composite" presStyleCnt="0"/>
      <dgm:spPr/>
    </dgm:pt>
    <dgm:pt modelId="{C04AE90F-AC95-43B5-B942-8D97C0918650}" type="pres">
      <dgm:prSet presAssocID="{08572C69-19EE-42C6-BA4D-603CD7F3307B}" presName="ConnectorPoint" presStyleLbl="lnNode1" presStyleIdx="3" presStyleCnt="4"/>
      <dgm:spPr>
        <a:solidFill>
          <a:schemeClr val="accent5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A375F317-579E-4A58-B1AE-3DB841CCE3C7}" type="pres">
      <dgm:prSet presAssocID="{08572C69-19EE-42C6-BA4D-603CD7F3307B}" presName="DropPinPlaceHolder" presStyleCnt="0"/>
      <dgm:spPr/>
    </dgm:pt>
    <dgm:pt modelId="{6667F50D-D88C-4B95-A4A3-18B9756C037C}" type="pres">
      <dgm:prSet presAssocID="{08572C69-19EE-42C6-BA4D-603CD7F3307B}" presName="DropPin" presStyleLbl="alignNode1" presStyleIdx="3" presStyleCnt="4"/>
      <dgm:spPr/>
    </dgm:pt>
    <dgm:pt modelId="{CE1B5BCF-E41F-44D1-B630-6887D15A7398}" type="pres">
      <dgm:prSet presAssocID="{08572C69-19EE-42C6-BA4D-603CD7F3307B}" presName="Ellipse" presStyleLbl="fgAcc1" presStyleIdx="4" presStyleCnt="5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B0EAA9EE-7BD3-411E-86E5-2BA99352C26E}" type="pres">
      <dgm:prSet presAssocID="{08572C69-19EE-42C6-BA4D-603CD7F3307B}" presName="L2TextContainer" presStyleLbl="revTx" presStyleIdx="6" presStyleCnt="8">
        <dgm:presLayoutVars>
          <dgm:bulletEnabled val="1"/>
        </dgm:presLayoutVars>
      </dgm:prSet>
      <dgm:spPr/>
    </dgm:pt>
    <dgm:pt modelId="{2FB1246F-9AFE-48AF-BDF2-C0001E8CE969}" type="pres">
      <dgm:prSet presAssocID="{08572C69-19EE-42C6-BA4D-603CD7F3307B}" presName="L1TextContainer" presStyleLbl="revTx" presStyleIdx="7" presStyleCnt="8">
        <dgm:presLayoutVars>
          <dgm:chMax val="1"/>
          <dgm:chPref val="1"/>
          <dgm:bulletEnabled val="1"/>
        </dgm:presLayoutVars>
      </dgm:prSet>
      <dgm:spPr/>
    </dgm:pt>
    <dgm:pt modelId="{60A486CB-3970-483A-B450-0DD424E81EA2}" type="pres">
      <dgm:prSet presAssocID="{08572C69-19EE-42C6-BA4D-603CD7F3307B}" presName="ConnectLine" presStyleLbl="sibTrans1D1" presStyleIdx="3" presStyleCnt="4"/>
      <dgm:spPr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41F339AF-F68F-4A37-BAD3-4D68C1C35319}" type="pres">
      <dgm:prSet presAssocID="{08572C69-19EE-42C6-BA4D-603CD7F3307B}" presName="EmptyPlaceHolder" presStyleCnt="0"/>
      <dgm:spPr/>
    </dgm:pt>
  </dgm:ptLst>
  <dgm:cxnLst>
    <dgm:cxn modelId="{93407A14-4F61-4CDA-AE6A-2618B202116B}" type="presOf" srcId="{CD7881FF-A15F-410F-B09D-1E890C99EC42}" destId="{F8BF2188-6BF4-47CB-ACB2-C7EBAAA124D8}" srcOrd="0" destOrd="0" presId="urn:microsoft.com/office/officeart/2017/3/layout/DropPinTimeline"/>
    <dgm:cxn modelId="{D1029826-F304-40AB-8A45-E110812DD908}" srcId="{FF36647C-5324-4D08-BDB9-3E9B48F20DD1}" destId="{71889293-8C1F-4AD7-B68C-3FE0C7D16B13}" srcOrd="1" destOrd="0" parTransId="{FDAA98F7-80E5-459E-B1FE-A3F0CB591E6B}" sibTransId="{704D613E-FC16-44F7-BE3D-38E429095BE1}"/>
    <dgm:cxn modelId="{0CE43B2D-E98B-4946-95E2-43BAC2129941}" type="presOf" srcId="{782B7E6D-275E-44FE-B64E-CF4DCB18CE03}" destId="{4183CEC0-935A-410C-86C6-DD5A3092D739}" srcOrd="0" destOrd="0" presId="urn:microsoft.com/office/officeart/2017/3/layout/DropPinTimeline"/>
    <dgm:cxn modelId="{79A87131-C6BB-4810-9F98-4B22F92F1E9D}" type="presOf" srcId="{788A36FF-269B-4055-95FF-3C5324B20379}" destId="{B0EAA9EE-7BD3-411E-86E5-2BA99352C26E}" srcOrd="0" destOrd="0" presId="urn:microsoft.com/office/officeart/2017/3/layout/DropPinTimeline"/>
    <dgm:cxn modelId="{2CA79F42-2A38-4EC6-B338-A31D6E38EADF}" type="presOf" srcId="{08572C69-19EE-42C6-BA4D-603CD7F3307B}" destId="{2FB1246F-9AFE-48AF-BDF2-C0001E8CE969}" srcOrd="0" destOrd="0" presId="urn:microsoft.com/office/officeart/2017/3/layout/DropPinTimeline"/>
    <dgm:cxn modelId="{C7566451-E4E4-4666-9F97-113B57CFD5DA}" srcId="{FF36647C-5324-4D08-BDB9-3E9B48F20DD1}" destId="{08572C69-19EE-42C6-BA4D-603CD7F3307B}" srcOrd="3" destOrd="0" parTransId="{F36C70AE-C5E9-45FD-B03D-266D24EF552D}" sibTransId="{82A263F1-86DA-4665-B566-AA56CDF4A9BB}"/>
    <dgm:cxn modelId="{8DCA5369-4987-4395-B577-3F77808A3F83}" srcId="{FF36647C-5324-4D08-BDB9-3E9B48F20DD1}" destId="{782B7E6D-275E-44FE-B64E-CF4DCB18CE03}" srcOrd="2" destOrd="0" parTransId="{7E3DD2C2-FCF7-483B-BBFA-964A0E2EAC0C}" sibTransId="{7A44FBB3-0697-4CC5-A841-27A346413981}"/>
    <dgm:cxn modelId="{BAADE26F-6135-4A42-861F-8734B5021E8C}" srcId="{71889293-8C1F-4AD7-B68C-3FE0C7D16B13}" destId="{CD7881FF-A15F-410F-B09D-1E890C99EC42}" srcOrd="0" destOrd="0" parTransId="{E5D9AAA8-90BA-4237-8261-FCC83548659B}" sibTransId="{6AF0B477-E943-470E-9479-F3363B74625A}"/>
    <dgm:cxn modelId="{1862D382-7D10-476C-91A9-814B7ADE137B}" type="presOf" srcId="{35F31090-FA02-4466-AFB5-87B6DF07BCD7}" destId="{FCFABF29-6938-49B1-A567-2C728891E9CA}" srcOrd="0" destOrd="0" presId="urn:microsoft.com/office/officeart/2017/3/layout/DropPinTimeline"/>
    <dgm:cxn modelId="{33FDBE99-F904-46E0-96B7-D71070ACD7B4}" type="presOf" srcId="{3941DDB8-F743-41AB-B193-8BE13A9EBF36}" destId="{BE565CC8-066C-44C8-A00D-95B6F78719F0}" srcOrd="0" destOrd="0" presId="urn:microsoft.com/office/officeart/2017/3/layout/DropPinTimeline"/>
    <dgm:cxn modelId="{F4F8E7B3-B5C3-4ADE-A4BF-BF9089E937FD}" srcId="{782B7E6D-275E-44FE-B64E-CF4DCB18CE03}" destId="{3941DDB8-F743-41AB-B193-8BE13A9EBF36}" srcOrd="0" destOrd="0" parTransId="{58428392-E344-41F5-84FA-76EEA50DA237}" sibTransId="{6DEDE53F-E007-4201-94B1-14C6431F9A09}"/>
    <dgm:cxn modelId="{DA332ABC-6DD8-4389-AAF7-C6A73104A100}" type="presOf" srcId="{FF36647C-5324-4D08-BDB9-3E9B48F20DD1}" destId="{1BECC204-0B33-4492-B18F-BFFE0A1C4F24}" srcOrd="0" destOrd="0" presId="urn:microsoft.com/office/officeart/2017/3/layout/DropPinTimeline"/>
    <dgm:cxn modelId="{546855CB-B841-491D-B14A-77623CB221B4}" type="presOf" srcId="{888DC0D2-4444-40D9-B858-BFDAA4CDF353}" destId="{9645BC26-64C3-4BAD-BB69-975CFA0A023B}" srcOrd="0" destOrd="0" presId="urn:microsoft.com/office/officeart/2017/3/layout/DropPinTimeline"/>
    <dgm:cxn modelId="{96CDB9CD-5CB5-4A93-BBE8-A221469E1FBD}" type="presOf" srcId="{71889293-8C1F-4AD7-B68C-3FE0C7D16B13}" destId="{D0934DA1-1A1E-4382-BFE9-4832C18E047F}" srcOrd="0" destOrd="0" presId="urn:microsoft.com/office/officeart/2017/3/layout/DropPinTimeline"/>
    <dgm:cxn modelId="{EFA22CE1-2C52-470A-9938-CD484B2EA0F6}" srcId="{888DC0D2-4444-40D9-B858-BFDAA4CDF353}" destId="{35F31090-FA02-4466-AFB5-87B6DF07BCD7}" srcOrd="0" destOrd="0" parTransId="{02A6F90A-4E5E-47CC-991A-2BAB3C5B6268}" sibTransId="{F084EB43-00FB-414A-AD2A-3F7880D78FB6}"/>
    <dgm:cxn modelId="{3F45C7ED-0090-4AEE-94EB-07E2C9AD936C}" srcId="{FF36647C-5324-4D08-BDB9-3E9B48F20DD1}" destId="{888DC0D2-4444-40D9-B858-BFDAA4CDF353}" srcOrd="0" destOrd="0" parTransId="{60EC43F8-DA40-49EB-BE0E-26C4F395A32F}" sibTransId="{4EEDA2CB-0EF6-42B3-B5C1-B63D1AE6F3BD}"/>
    <dgm:cxn modelId="{6679F8F8-4DD6-45EF-A5D8-9725BB126DC4}" srcId="{08572C69-19EE-42C6-BA4D-603CD7F3307B}" destId="{788A36FF-269B-4055-95FF-3C5324B20379}" srcOrd="0" destOrd="0" parTransId="{CCA24C21-3B1C-402F-8FDC-C2B89962FAF9}" sibTransId="{C51466E5-D8D4-4B32-8450-8F1E54EA0DC1}"/>
    <dgm:cxn modelId="{188D7662-290A-4011-96C6-66AC2CB55CE3}" type="presParOf" srcId="{1BECC204-0B33-4492-B18F-BFFE0A1C4F24}" destId="{3348F4B1-7F5F-4A53-A952-22DBCA5BB3EC}" srcOrd="0" destOrd="0" presId="urn:microsoft.com/office/officeart/2017/3/layout/DropPinTimeline"/>
    <dgm:cxn modelId="{DD68731A-5061-4107-A7B9-2956B1A7E9CD}" type="presParOf" srcId="{1BECC204-0B33-4492-B18F-BFFE0A1C4F24}" destId="{0AA2C8D3-19FD-4BCC-B35D-CCF603F7C82D}" srcOrd="1" destOrd="0" presId="urn:microsoft.com/office/officeart/2017/3/layout/DropPinTimeline"/>
    <dgm:cxn modelId="{FA7F6859-640E-4E0D-B043-ECF0E356A455}" type="presParOf" srcId="{0AA2C8D3-19FD-4BCC-B35D-CCF603F7C82D}" destId="{7647DCFA-31EF-4955-B48B-77294C2049C0}" srcOrd="0" destOrd="0" presId="urn:microsoft.com/office/officeart/2017/3/layout/DropPinTimeline"/>
    <dgm:cxn modelId="{49E0ABBF-A6C0-4B62-8E67-1C763A13F628}" type="presParOf" srcId="{7647DCFA-31EF-4955-B48B-77294C2049C0}" destId="{D22A234F-1E9D-4969-A922-A19F09F4C458}" srcOrd="0" destOrd="0" presId="urn:microsoft.com/office/officeart/2017/3/layout/DropPinTimeline"/>
    <dgm:cxn modelId="{261FC349-CAD1-4077-9120-E96C2D677FDB}" type="presParOf" srcId="{7647DCFA-31EF-4955-B48B-77294C2049C0}" destId="{794BEF26-121F-48B4-9A3A-6B5F50F65E99}" srcOrd="1" destOrd="0" presId="urn:microsoft.com/office/officeart/2017/3/layout/DropPinTimeline"/>
    <dgm:cxn modelId="{C2500F53-D5CF-4E71-B275-E4349A9A0592}" type="presParOf" srcId="{794BEF26-121F-48B4-9A3A-6B5F50F65E99}" destId="{A9511F33-CA42-4152-A4A1-9DD03A2021F8}" srcOrd="0" destOrd="0" presId="urn:microsoft.com/office/officeart/2017/3/layout/DropPinTimeline"/>
    <dgm:cxn modelId="{CD676D99-F074-411A-A947-AAA111754BB5}" type="presParOf" srcId="{794BEF26-121F-48B4-9A3A-6B5F50F65E99}" destId="{68D7ED5E-FB27-42A2-AA5A-D2F167CAF615}" srcOrd="1" destOrd="0" presId="urn:microsoft.com/office/officeart/2017/3/layout/DropPinTimeline"/>
    <dgm:cxn modelId="{192553A7-2570-453B-A9BB-A8D38FEA7B57}" type="presParOf" srcId="{7647DCFA-31EF-4955-B48B-77294C2049C0}" destId="{FCFABF29-6938-49B1-A567-2C728891E9CA}" srcOrd="2" destOrd="0" presId="urn:microsoft.com/office/officeart/2017/3/layout/DropPinTimeline"/>
    <dgm:cxn modelId="{E4803592-327C-4E7D-ABC5-72F5C2903C89}" type="presParOf" srcId="{7647DCFA-31EF-4955-B48B-77294C2049C0}" destId="{9645BC26-64C3-4BAD-BB69-975CFA0A023B}" srcOrd="3" destOrd="0" presId="urn:microsoft.com/office/officeart/2017/3/layout/DropPinTimeline"/>
    <dgm:cxn modelId="{FEFE8C73-8005-4FC8-85EE-4A83B937341A}" type="presParOf" srcId="{7647DCFA-31EF-4955-B48B-77294C2049C0}" destId="{0878A462-46B3-4B25-9268-DE75AAAA8082}" srcOrd="4" destOrd="0" presId="urn:microsoft.com/office/officeart/2017/3/layout/DropPinTimeline"/>
    <dgm:cxn modelId="{4EDAADB4-46F0-4274-BAF7-4D2647E7DEF2}" type="presParOf" srcId="{7647DCFA-31EF-4955-B48B-77294C2049C0}" destId="{AA4F517A-B97A-4D6D-A03F-37D75BFB37CD}" srcOrd="5" destOrd="0" presId="urn:microsoft.com/office/officeart/2017/3/layout/DropPinTimeline"/>
    <dgm:cxn modelId="{2918263D-C4AF-4689-AF47-C2E730AECCA3}" type="presParOf" srcId="{0AA2C8D3-19FD-4BCC-B35D-CCF603F7C82D}" destId="{839A820A-31DA-4797-8204-7F7EF9F5555F}" srcOrd="1" destOrd="0" presId="urn:microsoft.com/office/officeart/2017/3/layout/DropPinTimeline"/>
    <dgm:cxn modelId="{CB09E6D6-981D-4F40-9BCA-A40AAB21D84E}" type="presParOf" srcId="{0AA2C8D3-19FD-4BCC-B35D-CCF603F7C82D}" destId="{8C66825A-5B96-44A4-805E-158B893449C4}" srcOrd="2" destOrd="0" presId="urn:microsoft.com/office/officeart/2017/3/layout/DropPinTimeline"/>
    <dgm:cxn modelId="{95D5A10F-B264-4FB6-9B88-6352B66B41A2}" type="presParOf" srcId="{8C66825A-5B96-44A4-805E-158B893449C4}" destId="{9D2E5EF5-7EEC-4C17-8531-A7A2D99FD415}" srcOrd="0" destOrd="0" presId="urn:microsoft.com/office/officeart/2017/3/layout/DropPinTimeline"/>
    <dgm:cxn modelId="{E2B09A25-59F2-46D2-A668-57DF04213393}" type="presParOf" srcId="{8C66825A-5B96-44A4-805E-158B893449C4}" destId="{073D0FEF-32C2-487B-9F98-8494D9AF969D}" srcOrd="1" destOrd="0" presId="urn:microsoft.com/office/officeart/2017/3/layout/DropPinTimeline"/>
    <dgm:cxn modelId="{1FD1CA30-487A-45E9-9B5B-4C55B1B7B7F2}" type="presParOf" srcId="{073D0FEF-32C2-487B-9F98-8494D9AF969D}" destId="{A75CD570-BD88-4B9C-A3F3-94C8F8344772}" srcOrd="0" destOrd="0" presId="urn:microsoft.com/office/officeart/2017/3/layout/DropPinTimeline"/>
    <dgm:cxn modelId="{70EB51D1-0F7A-4234-9F17-57C13DFC8943}" type="presParOf" srcId="{073D0FEF-32C2-487B-9F98-8494D9AF969D}" destId="{302517CD-6564-4F8E-8536-A67BF33B4069}" srcOrd="1" destOrd="0" presId="urn:microsoft.com/office/officeart/2017/3/layout/DropPinTimeline"/>
    <dgm:cxn modelId="{26CB5341-ADF9-4AF9-BB9E-082B2A9E5DF0}" type="presParOf" srcId="{8C66825A-5B96-44A4-805E-158B893449C4}" destId="{F8BF2188-6BF4-47CB-ACB2-C7EBAAA124D8}" srcOrd="2" destOrd="0" presId="urn:microsoft.com/office/officeart/2017/3/layout/DropPinTimeline"/>
    <dgm:cxn modelId="{AD5082BD-0AC3-4114-A789-771195EAC4C0}" type="presParOf" srcId="{8C66825A-5B96-44A4-805E-158B893449C4}" destId="{D0934DA1-1A1E-4382-BFE9-4832C18E047F}" srcOrd="3" destOrd="0" presId="urn:microsoft.com/office/officeart/2017/3/layout/DropPinTimeline"/>
    <dgm:cxn modelId="{998BC71E-4FD0-42AC-ADFF-B44A606B5D04}" type="presParOf" srcId="{8C66825A-5B96-44A4-805E-158B893449C4}" destId="{FC6D5085-BC9A-425C-9655-F4EAAB9422C6}" srcOrd="4" destOrd="0" presId="urn:microsoft.com/office/officeart/2017/3/layout/DropPinTimeline"/>
    <dgm:cxn modelId="{3FEAE452-523A-4BFD-86DB-1E06E4DEBE7E}" type="presParOf" srcId="{8C66825A-5B96-44A4-805E-158B893449C4}" destId="{7CFA46A4-9BD6-49D6-94DC-1AE13D5F412E}" srcOrd="5" destOrd="0" presId="urn:microsoft.com/office/officeart/2017/3/layout/DropPinTimeline"/>
    <dgm:cxn modelId="{02116643-0FA7-46A0-853F-74CA477DF077}" type="presParOf" srcId="{0AA2C8D3-19FD-4BCC-B35D-CCF603F7C82D}" destId="{9B67900B-CDC5-49D7-8DC9-8FE2E33D3D7E}" srcOrd="3" destOrd="0" presId="urn:microsoft.com/office/officeart/2017/3/layout/DropPinTimeline"/>
    <dgm:cxn modelId="{51645E87-03CF-4A2F-BF86-29A8B341FE9C}" type="presParOf" srcId="{0AA2C8D3-19FD-4BCC-B35D-CCF603F7C82D}" destId="{3D4DFCF6-A2AE-4455-8EA6-7F92B134DC1A}" srcOrd="4" destOrd="0" presId="urn:microsoft.com/office/officeart/2017/3/layout/DropPinTimeline"/>
    <dgm:cxn modelId="{4C40A329-7AD5-4746-91A1-4E82312997E0}" type="presParOf" srcId="{3D4DFCF6-A2AE-4455-8EA6-7F92B134DC1A}" destId="{CC3026BE-E675-4141-8C6B-877C71AFCD1B}" srcOrd="0" destOrd="0" presId="urn:microsoft.com/office/officeart/2017/3/layout/DropPinTimeline"/>
    <dgm:cxn modelId="{71377EC7-CF51-4A15-8529-CD265CBA86FD}" type="presParOf" srcId="{3D4DFCF6-A2AE-4455-8EA6-7F92B134DC1A}" destId="{3AF1427C-042E-4DCE-B899-4E00DBD112C1}" srcOrd="1" destOrd="0" presId="urn:microsoft.com/office/officeart/2017/3/layout/DropPinTimeline"/>
    <dgm:cxn modelId="{09CE99B2-DE59-4DFC-8B79-2C9917434C7B}" type="presParOf" srcId="{3AF1427C-042E-4DCE-B899-4E00DBD112C1}" destId="{03390ACF-8941-4B21-81FE-E24DE182F400}" srcOrd="0" destOrd="0" presId="urn:microsoft.com/office/officeart/2017/3/layout/DropPinTimeline"/>
    <dgm:cxn modelId="{6543C11C-3D75-4677-B21A-3F461F525DC8}" type="presParOf" srcId="{3AF1427C-042E-4DCE-B899-4E00DBD112C1}" destId="{43CE6054-7DA9-41CA-A822-B5AEFEF9A36D}" srcOrd="1" destOrd="0" presId="urn:microsoft.com/office/officeart/2017/3/layout/DropPinTimeline"/>
    <dgm:cxn modelId="{4AB468F8-1EE2-4F5F-A2FC-0B2B1EF1A005}" type="presParOf" srcId="{3D4DFCF6-A2AE-4455-8EA6-7F92B134DC1A}" destId="{BE565CC8-066C-44C8-A00D-95B6F78719F0}" srcOrd="2" destOrd="0" presId="urn:microsoft.com/office/officeart/2017/3/layout/DropPinTimeline"/>
    <dgm:cxn modelId="{1BA934F0-888B-41B8-97F2-963A0A796699}" type="presParOf" srcId="{3D4DFCF6-A2AE-4455-8EA6-7F92B134DC1A}" destId="{4183CEC0-935A-410C-86C6-DD5A3092D739}" srcOrd="3" destOrd="0" presId="urn:microsoft.com/office/officeart/2017/3/layout/DropPinTimeline"/>
    <dgm:cxn modelId="{6784AB64-FEBA-4528-80A6-4572C1D90938}" type="presParOf" srcId="{3D4DFCF6-A2AE-4455-8EA6-7F92B134DC1A}" destId="{8C47003B-F241-4006-92DC-837EB791561B}" srcOrd="4" destOrd="0" presId="urn:microsoft.com/office/officeart/2017/3/layout/DropPinTimeline"/>
    <dgm:cxn modelId="{1AECD3C6-B8A6-40DB-970A-8F823272C21A}" type="presParOf" srcId="{3D4DFCF6-A2AE-4455-8EA6-7F92B134DC1A}" destId="{984F423D-ECA1-4D55-B1B0-2AD397FD43B9}" srcOrd="5" destOrd="0" presId="urn:microsoft.com/office/officeart/2017/3/layout/DropPinTimeline"/>
    <dgm:cxn modelId="{3E07B69C-0B08-4D2D-8DEF-62FDF4F8F8A5}" type="presParOf" srcId="{0AA2C8D3-19FD-4BCC-B35D-CCF603F7C82D}" destId="{C4A8F019-51C6-4150-A9A3-7778464D4D9A}" srcOrd="5" destOrd="0" presId="urn:microsoft.com/office/officeart/2017/3/layout/DropPinTimeline"/>
    <dgm:cxn modelId="{A09CCB3D-A276-422A-A6D4-19BA3CE77B9C}" type="presParOf" srcId="{0AA2C8D3-19FD-4BCC-B35D-CCF603F7C82D}" destId="{1627D70B-BA61-4CFB-8CD9-DFD6FD208DB8}" srcOrd="6" destOrd="0" presId="urn:microsoft.com/office/officeart/2017/3/layout/DropPinTimeline"/>
    <dgm:cxn modelId="{B3E1EA77-8992-4106-84A0-43A869C23569}" type="presParOf" srcId="{1627D70B-BA61-4CFB-8CD9-DFD6FD208DB8}" destId="{C04AE90F-AC95-43B5-B942-8D97C0918650}" srcOrd="0" destOrd="0" presId="urn:microsoft.com/office/officeart/2017/3/layout/DropPinTimeline"/>
    <dgm:cxn modelId="{516989D9-C0F1-4127-9243-E0637DB38845}" type="presParOf" srcId="{1627D70B-BA61-4CFB-8CD9-DFD6FD208DB8}" destId="{A375F317-579E-4A58-B1AE-3DB841CCE3C7}" srcOrd="1" destOrd="0" presId="urn:microsoft.com/office/officeart/2017/3/layout/DropPinTimeline"/>
    <dgm:cxn modelId="{EA7CDDF2-6748-4B31-8351-C588D79C7CAC}" type="presParOf" srcId="{A375F317-579E-4A58-B1AE-3DB841CCE3C7}" destId="{6667F50D-D88C-4B95-A4A3-18B9756C037C}" srcOrd="0" destOrd="0" presId="urn:microsoft.com/office/officeart/2017/3/layout/DropPinTimeline"/>
    <dgm:cxn modelId="{142B99F7-1AA8-4AC3-B6DE-274EBF5D5F28}" type="presParOf" srcId="{A375F317-579E-4A58-B1AE-3DB841CCE3C7}" destId="{CE1B5BCF-E41F-44D1-B630-6887D15A7398}" srcOrd="1" destOrd="0" presId="urn:microsoft.com/office/officeart/2017/3/layout/DropPinTimeline"/>
    <dgm:cxn modelId="{09F90F6A-30B9-4B21-B271-66AE03618441}" type="presParOf" srcId="{1627D70B-BA61-4CFB-8CD9-DFD6FD208DB8}" destId="{B0EAA9EE-7BD3-411E-86E5-2BA99352C26E}" srcOrd="2" destOrd="0" presId="urn:microsoft.com/office/officeart/2017/3/layout/DropPinTimeline"/>
    <dgm:cxn modelId="{DDC809AC-B732-4A2F-A903-8992DD734208}" type="presParOf" srcId="{1627D70B-BA61-4CFB-8CD9-DFD6FD208DB8}" destId="{2FB1246F-9AFE-48AF-BDF2-C0001E8CE969}" srcOrd="3" destOrd="0" presId="urn:microsoft.com/office/officeart/2017/3/layout/DropPinTimeline"/>
    <dgm:cxn modelId="{90437746-A5AA-40A2-B45D-532366FEF28E}" type="presParOf" srcId="{1627D70B-BA61-4CFB-8CD9-DFD6FD208DB8}" destId="{60A486CB-3970-483A-B450-0DD424E81EA2}" srcOrd="4" destOrd="0" presId="urn:microsoft.com/office/officeart/2017/3/layout/DropPinTimeline"/>
    <dgm:cxn modelId="{1245D684-9E26-47C9-8526-FBAC6F4A5F00}" type="presParOf" srcId="{1627D70B-BA61-4CFB-8CD9-DFD6FD208DB8}" destId="{41F339AF-F68F-4A37-BAD3-4D68C1C35319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92B2B0B-E1EB-413E-9DDA-E947D59F25D8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E1C93713-C3EB-49CB-91FC-6AE222C01E06}">
      <dgm:prSet/>
      <dgm:spPr/>
      <dgm:t>
        <a:bodyPr/>
        <a:lstStyle/>
        <a:p>
          <a:pPr rtl="0"/>
          <a:r>
            <a:rPr lang="en-US" b="0" i="0"/>
            <a:t>Roster</a:t>
          </a:r>
          <a:r>
            <a:rPr lang="en-US">
              <a:latin typeface="Calibri" panose="020F0502020204030204"/>
            </a:rPr>
            <a:t> completed</a:t>
          </a:r>
          <a:endParaRPr lang="en-US"/>
        </a:p>
      </dgm:t>
    </dgm:pt>
    <dgm:pt modelId="{017DDF6E-A81F-4ED1-9A22-704725CF3315}" type="parTrans" cxnId="{417E77D2-2844-4756-B3DC-2328CC82AE64}">
      <dgm:prSet/>
      <dgm:spPr/>
      <dgm:t>
        <a:bodyPr/>
        <a:lstStyle/>
        <a:p>
          <a:endParaRPr lang="en-US"/>
        </a:p>
      </dgm:t>
    </dgm:pt>
    <dgm:pt modelId="{681B1666-B7DC-46FF-865C-E7E4408A3128}" type="sibTrans" cxnId="{417E77D2-2844-4756-B3DC-2328CC82AE64}">
      <dgm:prSet/>
      <dgm:spPr/>
      <dgm:t>
        <a:bodyPr/>
        <a:lstStyle/>
        <a:p>
          <a:endParaRPr lang="en-US"/>
        </a:p>
      </dgm:t>
    </dgm:pt>
    <dgm:pt modelId="{22A9C8C7-F5B2-47F8-9266-7D3C5B78203D}">
      <dgm:prSet/>
      <dgm:spPr/>
      <dgm:t>
        <a:bodyPr/>
        <a:lstStyle/>
        <a:p>
          <a:pPr rtl="0"/>
          <a:r>
            <a:rPr lang="en-US" b="0" i="0"/>
            <a:t>Readiness survey</a:t>
          </a:r>
          <a:r>
            <a:rPr lang="en-US">
              <a:latin typeface="Calibri" panose="020F0502020204030204"/>
            </a:rPr>
            <a:t> submitted</a:t>
          </a:r>
          <a:endParaRPr lang="en-US"/>
        </a:p>
      </dgm:t>
    </dgm:pt>
    <dgm:pt modelId="{B101DCC5-9DFD-4A6B-BA5C-685F2C04701A}" type="parTrans" cxnId="{E331CCFB-8655-40AB-A8B0-C2D8CAF50BB7}">
      <dgm:prSet/>
      <dgm:spPr/>
      <dgm:t>
        <a:bodyPr/>
        <a:lstStyle/>
        <a:p>
          <a:endParaRPr lang="en-US"/>
        </a:p>
      </dgm:t>
    </dgm:pt>
    <dgm:pt modelId="{8DD8678B-BA49-4419-9EBE-3976039D4D32}" type="sibTrans" cxnId="{E331CCFB-8655-40AB-A8B0-C2D8CAF50BB7}">
      <dgm:prSet/>
      <dgm:spPr/>
      <dgm:t>
        <a:bodyPr/>
        <a:lstStyle/>
        <a:p>
          <a:endParaRPr lang="en-US"/>
        </a:p>
      </dgm:t>
    </dgm:pt>
    <dgm:pt modelId="{ABEF426E-B491-40FF-AC15-A987673D5657}">
      <dgm:prSet/>
      <dgm:spPr/>
      <dgm:t>
        <a:bodyPr/>
        <a:lstStyle/>
        <a:p>
          <a:pPr rtl="0"/>
          <a:r>
            <a:rPr lang="en-US" b="0" i="0"/>
            <a:t>Data submission Baseline-March</a:t>
          </a:r>
          <a:r>
            <a:rPr lang="en-US">
              <a:latin typeface="Aptos Display" panose="020F0302020204030204"/>
            </a:rPr>
            <a:t> 2024</a:t>
          </a:r>
          <a:endParaRPr lang="en-US"/>
        </a:p>
      </dgm:t>
    </dgm:pt>
    <dgm:pt modelId="{030946D5-5CF2-4290-A76A-0674D8E41067}" type="parTrans" cxnId="{66D3E18C-0B0C-4B1C-B1EF-E623E12AA24C}">
      <dgm:prSet/>
      <dgm:spPr/>
      <dgm:t>
        <a:bodyPr/>
        <a:lstStyle/>
        <a:p>
          <a:endParaRPr lang="en-US"/>
        </a:p>
      </dgm:t>
    </dgm:pt>
    <dgm:pt modelId="{FD32A3B9-A8D0-4359-AAD4-1E7566649D87}" type="sibTrans" cxnId="{66D3E18C-0B0C-4B1C-B1EF-E623E12AA24C}">
      <dgm:prSet/>
      <dgm:spPr/>
      <dgm:t>
        <a:bodyPr/>
        <a:lstStyle/>
        <a:p>
          <a:endParaRPr lang="en-US"/>
        </a:p>
      </dgm:t>
    </dgm:pt>
    <dgm:pt modelId="{CCB8D15D-723C-4981-B18C-F1466BE1AAB4}">
      <dgm:prSet/>
      <dgm:spPr/>
      <dgm:t>
        <a:bodyPr/>
        <a:lstStyle/>
        <a:p>
          <a:r>
            <a:rPr lang="en-US" b="0" i="0"/>
            <a:t>Regular webinar attendance</a:t>
          </a:r>
          <a:endParaRPr lang="en-US"/>
        </a:p>
      </dgm:t>
    </dgm:pt>
    <dgm:pt modelId="{65CA7CE1-41FE-4B30-966E-96DEDA3457DA}" type="parTrans" cxnId="{1FD0491C-29F0-46D5-BCB6-432F58E9D832}">
      <dgm:prSet/>
      <dgm:spPr/>
      <dgm:t>
        <a:bodyPr/>
        <a:lstStyle/>
        <a:p>
          <a:endParaRPr lang="en-US"/>
        </a:p>
      </dgm:t>
    </dgm:pt>
    <dgm:pt modelId="{DE020A91-7E26-42CF-BA54-F258A6F62FA1}" type="sibTrans" cxnId="{1FD0491C-29F0-46D5-BCB6-432F58E9D832}">
      <dgm:prSet/>
      <dgm:spPr/>
      <dgm:t>
        <a:bodyPr/>
        <a:lstStyle/>
        <a:p>
          <a:endParaRPr lang="en-US"/>
        </a:p>
      </dgm:t>
    </dgm:pt>
    <dgm:pt modelId="{C9BE8925-93DB-4A77-A7B5-D77AAF1F7F8F}">
      <dgm:prSet/>
      <dgm:spPr/>
      <dgm:t>
        <a:bodyPr/>
        <a:lstStyle/>
        <a:p>
          <a:r>
            <a:rPr lang="en-US" b="0" i="0"/>
            <a:t>At least 1 ESSI team member </a:t>
          </a:r>
          <a:r>
            <a:rPr lang="en-US" b="1" i="0"/>
            <a:t>registered and attended</a:t>
          </a:r>
          <a:r>
            <a:rPr lang="en-US" b="0" i="0"/>
            <a:t> PQI Training </a:t>
          </a:r>
          <a:endParaRPr lang="en-US"/>
        </a:p>
      </dgm:t>
    </dgm:pt>
    <dgm:pt modelId="{C719A9D3-2F1E-42D8-BCE8-ACFAB380378B}" type="parTrans" cxnId="{B415BE9B-358B-4A65-B0BB-543CB2D0E032}">
      <dgm:prSet/>
      <dgm:spPr/>
      <dgm:t>
        <a:bodyPr/>
        <a:lstStyle/>
        <a:p>
          <a:endParaRPr lang="en-US"/>
        </a:p>
      </dgm:t>
    </dgm:pt>
    <dgm:pt modelId="{019C1C66-502C-4B34-9CFE-5A235A780816}" type="sibTrans" cxnId="{B415BE9B-358B-4A65-B0BB-543CB2D0E032}">
      <dgm:prSet/>
      <dgm:spPr/>
      <dgm:t>
        <a:bodyPr/>
        <a:lstStyle/>
        <a:p>
          <a:endParaRPr lang="en-US"/>
        </a:p>
      </dgm:t>
    </dgm:pt>
    <dgm:pt modelId="{9CC28595-DE9C-4D9D-A4A9-237FAAB25E9F}" type="pres">
      <dgm:prSet presAssocID="{092B2B0B-E1EB-413E-9DDA-E947D59F25D8}" presName="root" presStyleCnt="0">
        <dgm:presLayoutVars>
          <dgm:dir/>
          <dgm:resizeHandles val="exact"/>
        </dgm:presLayoutVars>
      </dgm:prSet>
      <dgm:spPr/>
    </dgm:pt>
    <dgm:pt modelId="{06304710-C377-43C6-8E6B-236B8C9860A1}" type="pres">
      <dgm:prSet presAssocID="{E1C93713-C3EB-49CB-91FC-6AE222C01E06}" presName="compNode" presStyleCnt="0"/>
      <dgm:spPr/>
    </dgm:pt>
    <dgm:pt modelId="{93202B0C-73E3-4FE0-AE31-9D4E51D7D38F}" type="pres">
      <dgm:prSet presAssocID="{E1C93713-C3EB-49CB-91FC-6AE222C01E06}" presName="bgRect" presStyleLbl="bgShp" presStyleIdx="0" presStyleCnt="5"/>
      <dgm:spPr/>
    </dgm:pt>
    <dgm:pt modelId="{77F77850-9AEC-4F25-AA31-E89395EE4FF0}" type="pres">
      <dgm:prSet presAssocID="{E1C93713-C3EB-49CB-91FC-6AE222C01E06}" presName="iconRect" presStyleLbl="node1" presStyleIdx="0" presStyleCnt="5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4986EA0F-85C0-4BF9-AB83-958EC624E790}" type="pres">
      <dgm:prSet presAssocID="{E1C93713-C3EB-49CB-91FC-6AE222C01E06}" presName="spaceRect" presStyleCnt="0"/>
      <dgm:spPr/>
    </dgm:pt>
    <dgm:pt modelId="{0CAE225C-FE04-4CE9-A9A3-60CAC3219064}" type="pres">
      <dgm:prSet presAssocID="{E1C93713-C3EB-49CB-91FC-6AE222C01E06}" presName="parTx" presStyleLbl="revTx" presStyleIdx="0" presStyleCnt="5">
        <dgm:presLayoutVars>
          <dgm:chMax val="0"/>
          <dgm:chPref val="0"/>
        </dgm:presLayoutVars>
      </dgm:prSet>
      <dgm:spPr/>
    </dgm:pt>
    <dgm:pt modelId="{579B1BF8-459F-4645-BFA4-A14708C9DD28}" type="pres">
      <dgm:prSet presAssocID="{681B1666-B7DC-46FF-865C-E7E4408A3128}" presName="sibTrans" presStyleCnt="0"/>
      <dgm:spPr/>
    </dgm:pt>
    <dgm:pt modelId="{BADE3A05-048E-4B3E-AE6E-AF82914AC5FE}" type="pres">
      <dgm:prSet presAssocID="{22A9C8C7-F5B2-47F8-9266-7D3C5B78203D}" presName="compNode" presStyleCnt="0"/>
      <dgm:spPr/>
    </dgm:pt>
    <dgm:pt modelId="{B9A615F9-4B41-4A9E-B2E1-37E1E8A3C4E0}" type="pres">
      <dgm:prSet presAssocID="{22A9C8C7-F5B2-47F8-9266-7D3C5B78203D}" presName="bgRect" presStyleLbl="bgShp" presStyleIdx="1" presStyleCnt="5"/>
      <dgm:spPr/>
    </dgm:pt>
    <dgm:pt modelId="{4ABF02F5-C0DC-4756-9F1A-E5A4EAD919C2}" type="pres">
      <dgm:prSet presAssocID="{22A9C8C7-F5B2-47F8-9266-7D3C5B78203D}" presName="iconRect" presStyleLbl="node1" presStyleIdx="1" presStyleCnt="5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CC88A1C8-9C03-4BD8-9CC2-E1C354D8688C}" type="pres">
      <dgm:prSet presAssocID="{22A9C8C7-F5B2-47F8-9266-7D3C5B78203D}" presName="spaceRect" presStyleCnt="0"/>
      <dgm:spPr/>
    </dgm:pt>
    <dgm:pt modelId="{D0D8196F-B337-4AF8-AF88-96A24CCD0947}" type="pres">
      <dgm:prSet presAssocID="{22A9C8C7-F5B2-47F8-9266-7D3C5B78203D}" presName="parTx" presStyleLbl="revTx" presStyleIdx="1" presStyleCnt="5">
        <dgm:presLayoutVars>
          <dgm:chMax val="0"/>
          <dgm:chPref val="0"/>
        </dgm:presLayoutVars>
      </dgm:prSet>
      <dgm:spPr/>
    </dgm:pt>
    <dgm:pt modelId="{072046E2-E012-4B1D-BA88-3C3FFF5D161E}" type="pres">
      <dgm:prSet presAssocID="{8DD8678B-BA49-4419-9EBE-3976039D4D32}" presName="sibTrans" presStyleCnt="0"/>
      <dgm:spPr/>
    </dgm:pt>
    <dgm:pt modelId="{0BF3D3FF-D051-401A-A7E5-E54480F19EC3}" type="pres">
      <dgm:prSet presAssocID="{ABEF426E-B491-40FF-AC15-A987673D5657}" presName="compNode" presStyleCnt="0"/>
      <dgm:spPr/>
    </dgm:pt>
    <dgm:pt modelId="{C835CB1C-8BCF-4E68-BA83-388E026FD4EC}" type="pres">
      <dgm:prSet presAssocID="{ABEF426E-B491-40FF-AC15-A987673D5657}" presName="bgRect" presStyleLbl="bgShp" presStyleIdx="2" presStyleCnt="5"/>
      <dgm:spPr/>
    </dgm:pt>
    <dgm:pt modelId="{C27798A9-D92B-4B89-8A82-E4C56811104B}" type="pres">
      <dgm:prSet presAssocID="{ABEF426E-B491-40FF-AC15-A987673D5657}" presName="iconRect" presStyleLbl="node1" presStyleIdx="2" presStyleCnt="5"/>
      <dgm:spPr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326636F0-E6BF-4A70-A614-08B676E89955}" type="pres">
      <dgm:prSet presAssocID="{ABEF426E-B491-40FF-AC15-A987673D5657}" presName="spaceRect" presStyleCnt="0"/>
      <dgm:spPr/>
    </dgm:pt>
    <dgm:pt modelId="{17C93FD6-FE78-4E19-8113-215B862E0B3B}" type="pres">
      <dgm:prSet presAssocID="{ABEF426E-B491-40FF-AC15-A987673D5657}" presName="parTx" presStyleLbl="revTx" presStyleIdx="2" presStyleCnt="5">
        <dgm:presLayoutVars>
          <dgm:chMax val="0"/>
          <dgm:chPref val="0"/>
        </dgm:presLayoutVars>
      </dgm:prSet>
      <dgm:spPr/>
    </dgm:pt>
    <dgm:pt modelId="{89ECC8D6-3C42-4372-9545-E1073DDBD09E}" type="pres">
      <dgm:prSet presAssocID="{FD32A3B9-A8D0-4359-AAD4-1E7566649D87}" presName="sibTrans" presStyleCnt="0"/>
      <dgm:spPr/>
    </dgm:pt>
    <dgm:pt modelId="{2C2ADB25-1C59-4816-BAB3-2E4B1D59474A}" type="pres">
      <dgm:prSet presAssocID="{CCB8D15D-723C-4981-B18C-F1466BE1AAB4}" presName="compNode" presStyleCnt="0"/>
      <dgm:spPr/>
    </dgm:pt>
    <dgm:pt modelId="{5337A328-9D44-4FD8-A65D-8843ECCBAEB9}" type="pres">
      <dgm:prSet presAssocID="{CCB8D15D-723C-4981-B18C-F1466BE1AAB4}" presName="bgRect" presStyleLbl="bgShp" presStyleIdx="3" presStyleCnt="5"/>
      <dgm:spPr/>
    </dgm:pt>
    <dgm:pt modelId="{9983B2FA-E8DD-4F67-ABC9-8F64E73C68CB}" type="pres">
      <dgm:prSet presAssocID="{CCB8D15D-723C-4981-B18C-F1466BE1AAB4}" presName="iconRect" presStyleLbl="node1" presStyleIdx="3" presStyleCnt="5"/>
      <dgm:spPr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aptop"/>
        </a:ext>
      </dgm:extLst>
    </dgm:pt>
    <dgm:pt modelId="{9B9AB47E-3CD7-4D80-ADC0-A5B8C980E74B}" type="pres">
      <dgm:prSet presAssocID="{CCB8D15D-723C-4981-B18C-F1466BE1AAB4}" presName="spaceRect" presStyleCnt="0"/>
      <dgm:spPr/>
    </dgm:pt>
    <dgm:pt modelId="{35C2D13B-CA3C-42DE-82A0-173555030FAA}" type="pres">
      <dgm:prSet presAssocID="{CCB8D15D-723C-4981-B18C-F1466BE1AAB4}" presName="parTx" presStyleLbl="revTx" presStyleIdx="3" presStyleCnt="5">
        <dgm:presLayoutVars>
          <dgm:chMax val="0"/>
          <dgm:chPref val="0"/>
        </dgm:presLayoutVars>
      </dgm:prSet>
      <dgm:spPr/>
    </dgm:pt>
    <dgm:pt modelId="{214C0D83-6E0E-4943-B0AF-64564C3E3B1F}" type="pres">
      <dgm:prSet presAssocID="{DE020A91-7E26-42CF-BA54-F258A6F62FA1}" presName="sibTrans" presStyleCnt="0"/>
      <dgm:spPr/>
    </dgm:pt>
    <dgm:pt modelId="{95168195-6A59-44AC-8122-BF816058F3B5}" type="pres">
      <dgm:prSet presAssocID="{C9BE8925-93DB-4A77-A7B5-D77AAF1F7F8F}" presName="compNode" presStyleCnt="0"/>
      <dgm:spPr/>
    </dgm:pt>
    <dgm:pt modelId="{5615F553-8E0E-46E9-AADF-90659E3BED77}" type="pres">
      <dgm:prSet presAssocID="{C9BE8925-93DB-4A77-A7B5-D77AAF1F7F8F}" presName="bgRect" presStyleLbl="bgShp" presStyleIdx="4" presStyleCnt="5"/>
      <dgm:spPr/>
    </dgm:pt>
    <dgm:pt modelId="{988E9CB8-CF0C-4630-B17A-A79A810C1ED3}" type="pres">
      <dgm:prSet presAssocID="{C9BE8925-93DB-4A77-A7B5-D77AAF1F7F8F}" presName="iconRect" presStyleLbl="node1" presStyleIdx="4" presStyleCnt="5"/>
      <dgm:spPr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7873AEB0-5035-448D-A86A-F7B446CA5B10}" type="pres">
      <dgm:prSet presAssocID="{C9BE8925-93DB-4A77-A7B5-D77AAF1F7F8F}" presName="spaceRect" presStyleCnt="0"/>
      <dgm:spPr/>
    </dgm:pt>
    <dgm:pt modelId="{33CD02C7-6B37-4267-AC58-EE3D761DFA40}" type="pres">
      <dgm:prSet presAssocID="{C9BE8925-93DB-4A77-A7B5-D77AAF1F7F8F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E3682313-AAF8-48B5-9CAE-0EC9DBA8AC38}" type="presOf" srcId="{092B2B0B-E1EB-413E-9DDA-E947D59F25D8}" destId="{9CC28595-DE9C-4D9D-A4A9-237FAAB25E9F}" srcOrd="0" destOrd="0" presId="urn:microsoft.com/office/officeart/2018/2/layout/IconVerticalSolidList"/>
    <dgm:cxn modelId="{1FD0491C-29F0-46D5-BCB6-432F58E9D832}" srcId="{092B2B0B-E1EB-413E-9DDA-E947D59F25D8}" destId="{CCB8D15D-723C-4981-B18C-F1466BE1AAB4}" srcOrd="3" destOrd="0" parTransId="{65CA7CE1-41FE-4B30-966E-96DEDA3457DA}" sibTransId="{DE020A91-7E26-42CF-BA54-F258A6F62FA1}"/>
    <dgm:cxn modelId="{0CC5B961-7A65-4F71-A10E-085849CD1382}" type="presOf" srcId="{22A9C8C7-F5B2-47F8-9266-7D3C5B78203D}" destId="{D0D8196F-B337-4AF8-AF88-96A24CCD0947}" srcOrd="0" destOrd="0" presId="urn:microsoft.com/office/officeart/2018/2/layout/IconVerticalSolidList"/>
    <dgm:cxn modelId="{08283577-9E7F-424F-9F9B-626E2AB1D018}" type="presOf" srcId="{C9BE8925-93DB-4A77-A7B5-D77AAF1F7F8F}" destId="{33CD02C7-6B37-4267-AC58-EE3D761DFA40}" srcOrd="0" destOrd="0" presId="urn:microsoft.com/office/officeart/2018/2/layout/IconVerticalSolidList"/>
    <dgm:cxn modelId="{66D3E18C-0B0C-4B1C-B1EF-E623E12AA24C}" srcId="{092B2B0B-E1EB-413E-9DDA-E947D59F25D8}" destId="{ABEF426E-B491-40FF-AC15-A987673D5657}" srcOrd="2" destOrd="0" parTransId="{030946D5-5CF2-4290-A76A-0674D8E41067}" sibTransId="{FD32A3B9-A8D0-4359-AAD4-1E7566649D87}"/>
    <dgm:cxn modelId="{B415BE9B-358B-4A65-B0BB-543CB2D0E032}" srcId="{092B2B0B-E1EB-413E-9DDA-E947D59F25D8}" destId="{C9BE8925-93DB-4A77-A7B5-D77AAF1F7F8F}" srcOrd="4" destOrd="0" parTransId="{C719A9D3-2F1E-42D8-BCE8-ACFAB380378B}" sibTransId="{019C1C66-502C-4B34-9CFE-5A235A780816}"/>
    <dgm:cxn modelId="{4B88C9A8-A9FD-4844-94CF-A5870E537ACE}" type="presOf" srcId="{E1C93713-C3EB-49CB-91FC-6AE222C01E06}" destId="{0CAE225C-FE04-4CE9-A9A3-60CAC3219064}" srcOrd="0" destOrd="0" presId="urn:microsoft.com/office/officeart/2018/2/layout/IconVerticalSolidList"/>
    <dgm:cxn modelId="{DEFD1AA9-127B-4449-A581-39F72D42AABE}" type="presOf" srcId="{ABEF426E-B491-40FF-AC15-A987673D5657}" destId="{17C93FD6-FE78-4E19-8113-215B862E0B3B}" srcOrd="0" destOrd="0" presId="urn:microsoft.com/office/officeart/2018/2/layout/IconVerticalSolidList"/>
    <dgm:cxn modelId="{417E77D2-2844-4756-B3DC-2328CC82AE64}" srcId="{092B2B0B-E1EB-413E-9DDA-E947D59F25D8}" destId="{E1C93713-C3EB-49CB-91FC-6AE222C01E06}" srcOrd="0" destOrd="0" parTransId="{017DDF6E-A81F-4ED1-9A22-704725CF3315}" sibTransId="{681B1666-B7DC-46FF-865C-E7E4408A3128}"/>
    <dgm:cxn modelId="{68ACB6E8-AC02-4B8C-9035-41F674AA3C1B}" type="presOf" srcId="{CCB8D15D-723C-4981-B18C-F1466BE1AAB4}" destId="{35C2D13B-CA3C-42DE-82A0-173555030FAA}" srcOrd="0" destOrd="0" presId="urn:microsoft.com/office/officeart/2018/2/layout/IconVerticalSolidList"/>
    <dgm:cxn modelId="{E331CCFB-8655-40AB-A8B0-C2D8CAF50BB7}" srcId="{092B2B0B-E1EB-413E-9DDA-E947D59F25D8}" destId="{22A9C8C7-F5B2-47F8-9266-7D3C5B78203D}" srcOrd="1" destOrd="0" parTransId="{B101DCC5-9DFD-4A6B-BA5C-685F2C04701A}" sibTransId="{8DD8678B-BA49-4419-9EBE-3976039D4D32}"/>
    <dgm:cxn modelId="{1E107F34-59DC-4012-AB29-4E4FC985F8AB}" type="presParOf" srcId="{9CC28595-DE9C-4D9D-A4A9-237FAAB25E9F}" destId="{06304710-C377-43C6-8E6B-236B8C9860A1}" srcOrd="0" destOrd="0" presId="urn:microsoft.com/office/officeart/2018/2/layout/IconVerticalSolidList"/>
    <dgm:cxn modelId="{85FEACF7-A376-4C3A-A083-F240CAB11952}" type="presParOf" srcId="{06304710-C377-43C6-8E6B-236B8C9860A1}" destId="{93202B0C-73E3-4FE0-AE31-9D4E51D7D38F}" srcOrd="0" destOrd="0" presId="urn:microsoft.com/office/officeart/2018/2/layout/IconVerticalSolidList"/>
    <dgm:cxn modelId="{16A9B616-8DE4-4D0E-8789-DAE8E9228BDB}" type="presParOf" srcId="{06304710-C377-43C6-8E6B-236B8C9860A1}" destId="{77F77850-9AEC-4F25-AA31-E89395EE4FF0}" srcOrd="1" destOrd="0" presId="urn:microsoft.com/office/officeart/2018/2/layout/IconVerticalSolidList"/>
    <dgm:cxn modelId="{8401C5A2-1726-4D9F-A530-9CA8B275C4D8}" type="presParOf" srcId="{06304710-C377-43C6-8E6B-236B8C9860A1}" destId="{4986EA0F-85C0-4BF9-AB83-958EC624E790}" srcOrd="2" destOrd="0" presId="urn:microsoft.com/office/officeart/2018/2/layout/IconVerticalSolidList"/>
    <dgm:cxn modelId="{D0EDF2C1-8B15-4622-B422-32E414A243EA}" type="presParOf" srcId="{06304710-C377-43C6-8E6B-236B8C9860A1}" destId="{0CAE225C-FE04-4CE9-A9A3-60CAC3219064}" srcOrd="3" destOrd="0" presId="urn:microsoft.com/office/officeart/2018/2/layout/IconVerticalSolidList"/>
    <dgm:cxn modelId="{C0F55A2F-EEB1-4FD5-A41A-0B16AA70AEC8}" type="presParOf" srcId="{9CC28595-DE9C-4D9D-A4A9-237FAAB25E9F}" destId="{579B1BF8-459F-4645-BFA4-A14708C9DD28}" srcOrd="1" destOrd="0" presId="urn:microsoft.com/office/officeart/2018/2/layout/IconVerticalSolidList"/>
    <dgm:cxn modelId="{CEEBBE07-3F05-487E-B529-326983F01D57}" type="presParOf" srcId="{9CC28595-DE9C-4D9D-A4A9-237FAAB25E9F}" destId="{BADE3A05-048E-4B3E-AE6E-AF82914AC5FE}" srcOrd="2" destOrd="0" presId="urn:microsoft.com/office/officeart/2018/2/layout/IconVerticalSolidList"/>
    <dgm:cxn modelId="{E09F4697-5A00-4E1C-9DCE-F3932D6D4C75}" type="presParOf" srcId="{BADE3A05-048E-4B3E-AE6E-AF82914AC5FE}" destId="{B9A615F9-4B41-4A9E-B2E1-37E1E8A3C4E0}" srcOrd="0" destOrd="0" presId="urn:microsoft.com/office/officeart/2018/2/layout/IconVerticalSolidList"/>
    <dgm:cxn modelId="{B06C319E-134B-4A39-9705-E1DDD5DEB78C}" type="presParOf" srcId="{BADE3A05-048E-4B3E-AE6E-AF82914AC5FE}" destId="{4ABF02F5-C0DC-4756-9F1A-E5A4EAD919C2}" srcOrd="1" destOrd="0" presId="urn:microsoft.com/office/officeart/2018/2/layout/IconVerticalSolidList"/>
    <dgm:cxn modelId="{2855CE38-3011-4F98-AD3A-23CF6042EFE1}" type="presParOf" srcId="{BADE3A05-048E-4B3E-AE6E-AF82914AC5FE}" destId="{CC88A1C8-9C03-4BD8-9CC2-E1C354D8688C}" srcOrd="2" destOrd="0" presId="urn:microsoft.com/office/officeart/2018/2/layout/IconVerticalSolidList"/>
    <dgm:cxn modelId="{A1224ED7-EB36-4A3B-8C25-E447F138A0EE}" type="presParOf" srcId="{BADE3A05-048E-4B3E-AE6E-AF82914AC5FE}" destId="{D0D8196F-B337-4AF8-AF88-96A24CCD0947}" srcOrd="3" destOrd="0" presId="urn:microsoft.com/office/officeart/2018/2/layout/IconVerticalSolidList"/>
    <dgm:cxn modelId="{89DC460D-9F77-404B-80F1-30904CBABA4C}" type="presParOf" srcId="{9CC28595-DE9C-4D9D-A4A9-237FAAB25E9F}" destId="{072046E2-E012-4B1D-BA88-3C3FFF5D161E}" srcOrd="3" destOrd="0" presId="urn:microsoft.com/office/officeart/2018/2/layout/IconVerticalSolidList"/>
    <dgm:cxn modelId="{5EFF31E7-F649-46C2-AF8B-3D842A1EC468}" type="presParOf" srcId="{9CC28595-DE9C-4D9D-A4A9-237FAAB25E9F}" destId="{0BF3D3FF-D051-401A-A7E5-E54480F19EC3}" srcOrd="4" destOrd="0" presId="urn:microsoft.com/office/officeart/2018/2/layout/IconVerticalSolidList"/>
    <dgm:cxn modelId="{055AD89D-0AA5-42D4-83F4-DDCC51631FF8}" type="presParOf" srcId="{0BF3D3FF-D051-401A-A7E5-E54480F19EC3}" destId="{C835CB1C-8BCF-4E68-BA83-388E026FD4EC}" srcOrd="0" destOrd="0" presId="urn:microsoft.com/office/officeart/2018/2/layout/IconVerticalSolidList"/>
    <dgm:cxn modelId="{77C9ADB9-D966-4B10-A866-F4A7728D3857}" type="presParOf" srcId="{0BF3D3FF-D051-401A-A7E5-E54480F19EC3}" destId="{C27798A9-D92B-4B89-8A82-E4C56811104B}" srcOrd="1" destOrd="0" presId="urn:microsoft.com/office/officeart/2018/2/layout/IconVerticalSolidList"/>
    <dgm:cxn modelId="{66A4CF1C-2BE5-4CEA-A974-ADD7389D11CA}" type="presParOf" srcId="{0BF3D3FF-D051-401A-A7E5-E54480F19EC3}" destId="{326636F0-E6BF-4A70-A614-08B676E89955}" srcOrd="2" destOrd="0" presId="urn:microsoft.com/office/officeart/2018/2/layout/IconVerticalSolidList"/>
    <dgm:cxn modelId="{508EC50C-42EB-46D1-A24F-C4DFBC59EA03}" type="presParOf" srcId="{0BF3D3FF-D051-401A-A7E5-E54480F19EC3}" destId="{17C93FD6-FE78-4E19-8113-215B862E0B3B}" srcOrd="3" destOrd="0" presId="urn:microsoft.com/office/officeart/2018/2/layout/IconVerticalSolidList"/>
    <dgm:cxn modelId="{52AFDE7F-37E5-41CA-BC78-4E59F3DFE8CC}" type="presParOf" srcId="{9CC28595-DE9C-4D9D-A4A9-237FAAB25E9F}" destId="{89ECC8D6-3C42-4372-9545-E1073DDBD09E}" srcOrd="5" destOrd="0" presId="urn:microsoft.com/office/officeart/2018/2/layout/IconVerticalSolidList"/>
    <dgm:cxn modelId="{0D733A39-00E3-45D7-9E5B-EA7A0C7EAAD5}" type="presParOf" srcId="{9CC28595-DE9C-4D9D-A4A9-237FAAB25E9F}" destId="{2C2ADB25-1C59-4816-BAB3-2E4B1D59474A}" srcOrd="6" destOrd="0" presId="urn:microsoft.com/office/officeart/2018/2/layout/IconVerticalSolidList"/>
    <dgm:cxn modelId="{C903974A-BA35-4C3D-A0C2-FD73D657AA45}" type="presParOf" srcId="{2C2ADB25-1C59-4816-BAB3-2E4B1D59474A}" destId="{5337A328-9D44-4FD8-A65D-8843ECCBAEB9}" srcOrd="0" destOrd="0" presId="urn:microsoft.com/office/officeart/2018/2/layout/IconVerticalSolidList"/>
    <dgm:cxn modelId="{A4A68F70-E816-41C1-9B2A-0C0739850FD3}" type="presParOf" srcId="{2C2ADB25-1C59-4816-BAB3-2E4B1D59474A}" destId="{9983B2FA-E8DD-4F67-ABC9-8F64E73C68CB}" srcOrd="1" destOrd="0" presId="urn:microsoft.com/office/officeart/2018/2/layout/IconVerticalSolidList"/>
    <dgm:cxn modelId="{C35C744C-9955-4508-899C-4560DAE1B6AF}" type="presParOf" srcId="{2C2ADB25-1C59-4816-BAB3-2E4B1D59474A}" destId="{9B9AB47E-3CD7-4D80-ADC0-A5B8C980E74B}" srcOrd="2" destOrd="0" presId="urn:microsoft.com/office/officeart/2018/2/layout/IconVerticalSolidList"/>
    <dgm:cxn modelId="{915469F3-600D-46BC-B6BF-A41D4D9CE1D3}" type="presParOf" srcId="{2C2ADB25-1C59-4816-BAB3-2E4B1D59474A}" destId="{35C2D13B-CA3C-42DE-82A0-173555030FAA}" srcOrd="3" destOrd="0" presId="urn:microsoft.com/office/officeart/2018/2/layout/IconVerticalSolidList"/>
    <dgm:cxn modelId="{259454CE-43A3-4473-8C7A-83D9F346A2B5}" type="presParOf" srcId="{9CC28595-DE9C-4D9D-A4A9-237FAAB25E9F}" destId="{214C0D83-6E0E-4943-B0AF-64564C3E3B1F}" srcOrd="7" destOrd="0" presId="urn:microsoft.com/office/officeart/2018/2/layout/IconVerticalSolidList"/>
    <dgm:cxn modelId="{50FE7203-B986-4D1E-9113-AF9340462F66}" type="presParOf" srcId="{9CC28595-DE9C-4D9D-A4A9-237FAAB25E9F}" destId="{95168195-6A59-44AC-8122-BF816058F3B5}" srcOrd="8" destOrd="0" presId="urn:microsoft.com/office/officeart/2018/2/layout/IconVerticalSolidList"/>
    <dgm:cxn modelId="{0DD3EB9C-161A-4015-9A4D-C46C63ADD1DE}" type="presParOf" srcId="{95168195-6A59-44AC-8122-BF816058F3B5}" destId="{5615F553-8E0E-46E9-AADF-90659E3BED77}" srcOrd="0" destOrd="0" presId="urn:microsoft.com/office/officeart/2018/2/layout/IconVerticalSolidList"/>
    <dgm:cxn modelId="{EC25F975-AFE3-42A4-AC79-A34E4B0BA807}" type="presParOf" srcId="{95168195-6A59-44AC-8122-BF816058F3B5}" destId="{988E9CB8-CF0C-4630-B17A-A79A810C1ED3}" srcOrd="1" destOrd="0" presId="urn:microsoft.com/office/officeart/2018/2/layout/IconVerticalSolidList"/>
    <dgm:cxn modelId="{9EA8675C-3B26-4083-BC48-BA4029B2A6F9}" type="presParOf" srcId="{95168195-6A59-44AC-8122-BF816058F3B5}" destId="{7873AEB0-5035-448D-A86A-F7B446CA5B10}" srcOrd="2" destOrd="0" presId="urn:microsoft.com/office/officeart/2018/2/layout/IconVerticalSolidList"/>
    <dgm:cxn modelId="{BE25714D-04B7-4C10-BEF8-F6509007A412}" type="presParOf" srcId="{95168195-6A59-44AC-8122-BF816058F3B5}" destId="{33CD02C7-6B37-4267-AC58-EE3D761DFA4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48F4B1-7F5F-4A53-A952-22DBCA5BB3EC}">
      <dsp:nvSpPr>
        <dsp:cNvPr id="0" name=""/>
        <dsp:cNvSpPr/>
      </dsp:nvSpPr>
      <dsp:spPr>
        <a:xfrm>
          <a:off x="0" y="3001051"/>
          <a:ext cx="8823816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511F33-CA42-4152-A4A1-9DD03A2021F8}">
      <dsp:nvSpPr>
        <dsp:cNvPr id="0" name=""/>
        <dsp:cNvSpPr/>
      </dsp:nvSpPr>
      <dsp:spPr>
        <a:xfrm rot="8100000">
          <a:off x="93783" y="700442"/>
          <a:ext cx="423754" cy="423754"/>
        </a:xfrm>
        <a:prstGeom prst="teardrop">
          <a:avLst>
            <a:gd name="adj" fmla="val 1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D7ED5E-FB27-42A2-AA5A-D2F167CAF615}">
      <dsp:nvSpPr>
        <dsp:cNvPr id="0" name=""/>
        <dsp:cNvSpPr/>
      </dsp:nvSpPr>
      <dsp:spPr>
        <a:xfrm>
          <a:off x="140858" y="747517"/>
          <a:ext cx="329603" cy="32960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FABF29-6938-49B1-A567-2C728891E9CA}">
      <dsp:nvSpPr>
        <dsp:cNvPr id="0" name=""/>
        <dsp:cNvSpPr/>
      </dsp:nvSpPr>
      <dsp:spPr>
        <a:xfrm>
          <a:off x="605300" y="1224429"/>
          <a:ext cx="2350499" cy="17766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Equitable and Respectful Care Education and Implementation</a:t>
          </a:r>
        </a:p>
      </dsp:txBody>
      <dsp:txXfrm>
        <a:off x="605300" y="1224429"/>
        <a:ext cx="2350499" cy="1776622"/>
      </dsp:txXfrm>
    </dsp:sp>
    <dsp:sp modelId="{9645BC26-64C3-4BAD-BB69-975CFA0A023B}">
      <dsp:nvSpPr>
        <dsp:cNvPr id="0" name=""/>
        <dsp:cNvSpPr/>
      </dsp:nvSpPr>
      <dsp:spPr>
        <a:xfrm>
          <a:off x="605300" y="600210"/>
          <a:ext cx="2350499" cy="6242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January</a:t>
          </a:r>
        </a:p>
      </dsp:txBody>
      <dsp:txXfrm>
        <a:off x="605300" y="600210"/>
        <a:ext cx="2350499" cy="624218"/>
      </dsp:txXfrm>
    </dsp:sp>
    <dsp:sp modelId="{0878A462-46B3-4B25-9268-DE75AAAA8082}">
      <dsp:nvSpPr>
        <dsp:cNvPr id="0" name=""/>
        <dsp:cNvSpPr/>
      </dsp:nvSpPr>
      <dsp:spPr>
        <a:xfrm>
          <a:off x="305660" y="1224429"/>
          <a:ext cx="0" cy="1776622"/>
        </a:xfrm>
        <a:prstGeom prst="line">
          <a:avLst/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2A234F-1E9D-4969-A922-A19F09F4C458}">
      <dsp:nvSpPr>
        <dsp:cNvPr id="0" name=""/>
        <dsp:cNvSpPr/>
      </dsp:nvSpPr>
      <dsp:spPr>
        <a:xfrm>
          <a:off x="264195" y="2944871"/>
          <a:ext cx="107870" cy="11235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5CD570-BD88-4B9C-A3F3-94C8F8344772}">
      <dsp:nvSpPr>
        <dsp:cNvPr id="0" name=""/>
        <dsp:cNvSpPr/>
      </dsp:nvSpPr>
      <dsp:spPr>
        <a:xfrm rot="18900000">
          <a:off x="1559282" y="4877906"/>
          <a:ext cx="423754" cy="423754"/>
        </a:xfrm>
        <a:prstGeom prst="teardrop">
          <a:avLst>
            <a:gd name="adj" fmla="val 11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2517CD-6564-4F8E-8536-A67BF33B4069}">
      <dsp:nvSpPr>
        <dsp:cNvPr id="0" name=""/>
        <dsp:cNvSpPr/>
      </dsp:nvSpPr>
      <dsp:spPr>
        <a:xfrm>
          <a:off x="1606357" y="4924981"/>
          <a:ext cx="329603" cy="32960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BF2188-6BF4-47CB-ACB2-C7EBAAA124D8}">
      <dsp:nvSpPr>
        <dsp:cNvPr id="0" name=""/>
        <dsp:cNvSpPr/>
      </dsp:nvSpPr>
      <dsp:spPr>
        <a:xfrm>
          <a:off x="2070799" y="3001051"/>
          <a:ext cx="2350499" cy="17766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Equitable and Respectful Care Education and Implementation Part 2</a:t>
          </a:r>
        </a:p>
      </dsp:txBody>
      <dsp:txXfrm>
        <a:off x="2070799" y="3001051"/>
        <a:ext cx="2350499" cy="1776622"/>
      </dsp:txXfrm>
    </dsp:sp>
    <dsp:sp modelId="{D0934DA1-1A1E-4382-BFE9-4832C18E047F}">
      <dsp:nvSpPr>
        <dsp:cNvPr id="0" name=""/>
        <dsp:cNvSpPr/>
      </dsp:nvSpPr>
      <dsp:spPr>
        <a:xfrm>
          <a:off x="2070799" y="4777673"/>
          <a:ext cx="2350499" cy="6242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February</a:t>
          </a:r>
        </a:p>
      </dsp:txBody>
      <dsp:txXfrm>
        <a:off x="2070799" y="4777673"/>
        <a:ext cx="2350499" cy="624218"/>
      </dsp:txXfrm>
    </dsp:sp>
    <dsp:sp modelId="{FC6D5085-BC9A-425C-9655-F4EAAB9422C6}">
      <dsp:nvSpPr>
        <dsp:cNvPr id="0" name=""/>
        <dsp:cNvSpPr/>
      </dsp:nvSpPr>
      <dsp:spPr>
        <a:xfrm>
          <a:off x="1771159" y="3001051"/>
          <a:ext cx="0" cy="1776622"/>
        </a:xfrm>
        <a:prstGeom prst="line">
          <a:avLst/>
        </a:pr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2E5EF5-7EEC-4C17-8531-A7A2D99FD415}">
      <dsp:nvSpPr>
        <dsp:cNvPr id="0" name=""/>
        <dsp:cNvSpPr/>
      </dsp:nvSpPr>
      <dsp:spPr>
        <a:xfrm>
          <a:off x="1729694" y="2944871"/>
          <a:ext cx="107870" cy="11235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390ACF-8941-4B21-81FE-E24DE182F400}">
      <dsp:nvSpPr>
        <dsp:cNvPr id="0" name=""/>
        <dsp:cNvSpPr/>
      </dsp:nvSpPr>
      <dsp:spPr>
        <a:xfrm rot="8100000">
          <a:off x="3024781" y="700442"/>
          <a:ext cx="423754" cy="423754"/>
        </a:xfrm>
        <a:prstGeom prst="teardrop">
          <a:avLst>
            <a:gd name="adj" fmla="val 115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CE6054-7DA9-41CA-A822-B5AEFEF9A36D}">
      <dsp:nvSpPr>
        <dsp:cNvPr id="0" name=""/>
        <dsp:cNvSpPr/>
      </dsp:nvSpPr>
      <dsp:spPr>
        <a:xfrm>
          <a:off x="3071856" y="747517"/>
          <a:ext cx="329603" cy="32960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565CC8-066C-44C8-A00D-95B6F78719F0}">
      <dsp:nvSpPr>
        <dsp:cNvPr id="0" name=""/>
        <dsp:cNvSpPr/>
      </dsp:nvSpPr>
      <dsp:spPr>
        <a:xfrm>
          <a:off x="3536298" y="1224429"/>
          <a:ext cx="2350499" cy="17766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afe Sleep Environment Education and Implementation</a:t>
          </a:r>
        </a:p>
      </dsp:txBody>
      <dsp:txXfrm>
        <a:off x="3536298" y="1224429"/>
        <a:ext cx="2350499" cy="1776622"/>
      </dsp:txXfrm>
    </dsp:sp>
    <dsp:sp modelId="{4183CEC0-935A-410C-86C6-DD5A3092D739}">
      <dsp:nvSpPr>
        <dsp:cNvPr id="0" name=""/>
        <dsp:cNvSpPr/>
      </dsp:nvSpPr>
      <dsp:spPr>
        <a:xfrm>
          <a:off x="3536298" y="600210"/>
          <a:ext cx="2350499" cy="6242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March</a:t>
          </a:r>
        </a:p>
      </dsp:txBody>
      <dsp:txXfrm>
        <a:off x="3536298" y="600210"/>
        <a:ext cx="2350499" cy="624218"/>
      </dsp:txXfrm>
    </dsp:sp>
    <dsp:sp modelId="{8C47003B-F241-4006-92DC-837EB791561B}">
      <dsp:nvSpPr>
        <dsp:cNvPr id="0" name=""/>
        <dsp:cNvSpPr/>
      </dsp:nvSpPr>
      <dsp:spPr>
        <a:xfrm>
          <a:off x="3236658" y="1224429"/>
          <a:ext cx="0" cy="1776622"/>
        </a:xfrm>
        <a:prstGeom prst="line">
          <a:avLst/>
        </a:pr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3026BE-E675-4141-8C6B-877C71AFCD1B}">
      <dsp:nvSpPr>
        <dsp:cNvPr id="0" name=""/>
        <dsp:cNvSpPr/>
      </dsp:nvSpPr>
      <dsp:spPr>
        <a:xfrm>
          <a:off x="3195192" y="2944871"/>
          <a:ext cx="107870" cy="11235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67F50D-D88C-4B95-A4A3-18B9756C037C}">
      <dsp:nvSpPr>
        <dsp:cNvPr id="0" name=""/>
        <dsp:cNvSpPr/>
      </dsp:nvSpPr>
      <dsp:spPr>
        <a:xfrm rot="18900000">
          <a:off x="4490280" y="4877906"/>
          <a:ext cx="423754" cy="423754"/>
        </a:xfrm>
        <a:prstGeom prst="teardrop">
          <a:avLst>
            <a:gd name="adj" fmla="val 1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1B5BCF-E41F-44D1-B630-6887D15A7398}">
      <dsp:nvSpPr>
        <dsp:cNvPr id="0" name=""/>
        <dsp:cNvSpPr/>
      </dsp:nvSpPr>
      <dsp:spPr>
        <a:xfrm>
          <a:off x="4537355" y="4924981"/>
          <a:ext cx="329603" cy="32960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EAA9EE-7BD3-411E-86E5-2BA99352C26E}">
      <dsp:nvSpPr>
        <dsp:cNvPr id="0" name=""/>
        <dsp:cNvSpPr/>
      </dsp:nvSpPr>
      <dsp:spPr>
        <a:xfrm>
          <a:off x="5001797" y="3001051"/>
          <a:ext cx="2350499" cy="17766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000000"/>
              </a:solidFill>
            </a:rPr>
            <a:t>Safe Sleep </a:t>
          </a:r>
          <a:r>
            <a:rPr lang="en-US" sz="1500" kern="1200">
              <a:solidFill>
                <a:srgbClr val="000000"/>
              </a:solidFill>
              <a:latin typeface="Calibri" panose="020F0502020204030204"/>
            </a:rPr>
            <a:t>Environment Education </a:t>
          </a:r>
          <a:r>
            <a:rPr lang="en-US" sz="1500" kern="1200">
              <a:solidFill>
                <a:srgbClr val="000000"/>
              </a:solidFill>
            </a:rPr>
            <a:t>and </a:t>
          </a:r>
          <a:r>
            <a:rPr lang="en-US" sz="1500" kern="1200">
              <a:solidFill>
                <a:srgbClr val="000000"/>
              </a:solidFill>
              <a:latin typeface="Calibri" panose="020F0502020204030204"/>
            </a:rPr>
            <a:t>Implementation</a:t>
          </a:r>
          <a:endParaRPr lang="en-US" sz="1500" kern="1200">
            <a:solidFill>
              <a:srgbClr val="000000"/>
            </a:solidFill>
          </a:endParaRPr>
        </a:p>
      </dsp:txBody>
      <dsp:txXfrm>
        <a:off x="5001797" y="3001051"/>
        <a:ext cx="2350499" cy="1776622"/>
      </dsp:txXfrm>
    </dsp:sp>
    <dsp:sp modelId="{2FB1246F-9AFE-48AF-BDF2-C0001E8CE969}">
      <dsp:nvSpPr>
        <dsp:cNvPr id="0" name=""/>
        <dsp:cNvSpPr/>
      </dsp:nvSpPr>
      <dsp:spPr>
        <a:xfrm>
          <a:off x="5001797" y="4777673"/>
          <a:ext cx="2350499" cy="6242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April</a:t>
          </a:r>
        </a:p>
      </dsp:txBody>
      <dsp:txXfrm>
        <a:off x="5001797" y="4777673"/>
        <a:ext cx="2350499" cy="624218"/>
      </dsp:txXfrm>
    </dsp:sp>
    <dsp:sp modelId="{60A486CB-3970-483A-B450-0DD424E81EA2}">
      <dsp:nvSpPr>
        <dsp:cNvPr id="0" name=""/>
        <dsp:cNvSpPr/>
      </dsp:nvSpPr>
      <dsp:spPr>
        <a:xfrm>
          <a:off x="4702157" y="3001051"/>
          <a:ext cx="0" cy="1776622"/>
        </a:xfrm>
        <a:prstGeom prst="line">
          <a:avLst/>
        </a:pr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4AE90F-AC95-43B5-B942-8D97C0918650}">
      <dsp:nvSpPr>
        <dsp:cNvPr id="0" name=""/>
        <dsp:cNvSpPr/>
      </dsp:nvSpPr>
      <dsp:spPr>
        <a:xfrm>
          <a:off x="4660691" y="2944871"/>
          <a:ext cx="107870" cy="112359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D614B9-A401-4908-A5B6-5C785767B12A}">
      <dsp:nvSpPr>
        <dsp:cNvPr id="0" name=""/>
        <dsp:cNvSpPr/>
      </dsp:nvSpPr>
      <dsp:spPr>
        <a:xfrm rot="8100000">
          <a:off x="5955778" y="700442"/>
          <a:ext cx="423754" cy="423754"/>
        </a:xfrm>
        <a:prstGeom prst="teardrop">
          <a:avLst>
            <a:gd name="adj" fmla="val 115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0E4821-9E9D-43D5-AF7E-3658E3CCA6D9}">
      <dsp:nvSpPr>
        <dsp:cNvPr id="0" name=""/>
        <dsp:cNvSpPr/>
      </dsp:nvSpPr>
      <dsp:spPr>
        <a:xfrm>
          <a:off x="6002854" y="747517"/>
          <a:ext cx="329603" cy="32960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9B991F-842F-4129-B41A-36744D0D1DAF}">
      <dsp:nvSpPr>
        <dsp:cNvPr id="0" name=""/>
        <dsp:cNvSpPr/>
      </dsp:nvSpPr>
      <dsp:spPr>
        <a:xfrm>
          <a:off x="6467295" y="1224429"/>
          <a:ext cx="2350499" cy="17766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2024 Face-to-Face Meeting in Springfield IL</a:t>
          </a:r>
        </a:p>
      </dsp:txBody>
      <dsp:txXfrm>
        <a:off x="6467295" y="1224429"/>
        <a:ext cx="2350499" cy="1776622"/>
      </dsp:txXfrm>
    </dsp:sp>
    <dsp:sp modelId="{B37425C6-3D26-4CCF-BFF5-FB031B76BCAC}">
      <dsp:nvSpPr>
        <dsp:cNvPr id="0" name=""/>
        <dsp:cNvSpPr/>
      </dsp:nvSpPr>
      <dsp:spPr>
        <a:xfrm>
          <a:off x="6467295" y="600210"/>
          <a:ext cx="2350499" cy="6242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May</a:t>
          </a:r>
        </a:p>
      </dsp:txBody>
      <dsp:txXfrm>
        <a:off x="6467295" y="600210"/>
        <a:ext cx="2350499" cy="624218"/>
      </dsp:txXfrm>
    </dsp:sp>
    <dsp:sp modelId="{24B3BAC8-22E0-488C-8C7D-45D0A71DFCF1}">
      <dsp:nvSpPr>
        <dsp:cNvPr id="0" name=""/>
        <dsp:cNvSpPr/>
      </dsp:nvSpPr>
      <dsp:spPr>
        <a:xfrm>
          <a:off x="6167656" y="1224429"/>
          <a:ext cx="0" cy="1776622"/>
        </a:xfrm>
        <a:prstGeom prst="line">
          <a:avLst/>
        </a:pr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C9072A-7971-4C81-9C00-3C768C49DB68}">
      <dsp:nvSpPr>
        <dsp:cNvPr id="0" name=""/>
        <dsp:cNvSpPr/>
      </dsp:nvSpPr>
      <dsp:spPr>
        <a:xfrm>
          <a:off x="6126190" y="2944871"/>
          <a:ext cx="107870" cy="112359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131C6F-7311-4A33-A9DE-E1E3BE163BA6}">
      <dsp:nvSpPr>
        <dsp:cNvPr id="0" name=""/>
        <dsp:cNvSpPr/>
      </dsp:nvSpPr>
      <dsp:spPr>
        <a:xfrm>
          <a:off x="2477399" y="0"/>
          <a:ext cx="5259580" cy="5259580"/>
        </a:xfrm>
        <a:prstGeom prst="diamond">
          <a:avLst/>
        </a:prstGeom>
        <a:solidFill>
          <a:srgbClr val="8AE3A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017B62-974B-4CCC-82D4-15FD309F3A58}">
      <dsp:nvSpPr>
        <dsp:cNvPr id="0" name=""/>
        <dsp:cNvSpPr/>
      </dsp:nvSpPr>
      <dsp:spPr>
        <a:xfrm>
          <a:off x="3000201" y="499660"/>
          <a:ext cx="2051236" cy="2051236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ll physicians and providers, nurses, ancillary clinicians and hospital staff completing E-Modules</a:t>
          </a:r>
        </a:p>
      </dsp:txBody>
      <dsp:txXfrm>
        <a:off x="3100334" y="599793"/>
        <a:ext cx="1850970" cy="1850970"/>
      </dsp:txXfrm>
    </dsp:sp>
    <dsp:sp modelId="{67399538-B1C4-4C02-AA54-EC019EDC318E}">
      <dsp:nvSpPr>
        <dsp:cNvPr id="0" name=""/>
        <dsp:cNvSpPr/>
      </dsp:nvSpPr>
      <dsp:spPr>
        <a:xfrm>
          <a:off x="5209225" y="499660"/>
          <a:ext cx="2051236" cy="2051236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t least 1 ESSI Team Member attends PQI training</a:t>
          </a:r>
        </a:p>
      </dsp:txBody>
      <dsp:txXfrm>
        <a:off x="5309358" y="599793"/>
        <a:ext cx="1850970" cy="1850970"/>
      </dsp:txXfrm>
    </dsp:sp>
    <dsp:sp modelId="{AD986641-CB14-4D63-8E1D-83F37749B4CF}">
      <dsp:nvSpPr>
        <dsp:cNvPr id="0" name=""/>
        <dsp:cNvSpPr/>
      </dsp:nvSpPr>
      <dsp:spPr>
        <a:xfrm>
          <a:off x="3000201" y="2708683"/>
          <a:ext cx="2051236" cy="2051236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/>
            </a:rPr>
            <a:t>Host</a:t>
          </a:r>
          <a:r>
            <a:rPr lang="en-US" sz="1800" kern="1200"/>
            <a:t> at least 1 facilitated discussion</a:t>
          </a:r>
        </a:p>
      </dsp:txBody>
      <dsp:txXfrm>
        <a:off x="3100334" y="2808816"/>
        <a:ext cx="1850970" cy="1850970"/>
      </dsp:txXfrm>
    </dsp:sp>
    <dsp:sp modelId="{41B30F7D-63E8-4828-A2D7-8618F5B94D35}">
      <dsp:nvSpPr>
        <dsp:cNvPr id="0" name=""/>
        <dsp:cNvSpPr/>
      </dsp:nvSpPr>
      <dsp:spPr>
        <a:xfrm>
          <a:off x="5209225" y="2708683"/>
          <a:ext cx="2051236" cy="2051236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System to facilitate feedback from peers, parents and families </a:t>
          </a:r>
        </a:p>
      </dsp:txBody>
      <dsp:txXfrm>
        <a:off x="5309358" y="2808816"/>
        <a:ext cx="1850970" cy="185097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E4F431-2D5E-450E-8E51-09919FA26C47}">
      <dsp:nvSpPr>
        <dsp:cNvPr id="0" name=""/>
        <dsp:cNvSpPr/>
      </dsp:nvSpPr>
      <dsp:spPr>
        <a:xfrm>
          <a:off x="0" y="2676411"/>
          <a:ext cx="10320057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847E7E-6E15-47CE-9D6C-C58B22651211}">
      <dsp:nvSpPr>
        <dsp:cNvPr id="0" name=""/>
        <dsp:cNvSpPr/>
      </dsp:nvSpPr>
      <dsp:spPr>
        <a:xfrm rot="8100000">
          <a:off x="88905" y="616808"/>
          <a:ext cx="393641" cy="393641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BF9E1A-EEF3-4A06-A69D-8D9078F17967}">
      <dsp:nvSpPr>
        <dsp:cNvPr id="0" name=""/>
        <dsp:cNvSpPr/>
      </dsp:nvSpPr>
      <dsp:spPr>
        <a:xfrm>
          <a:off x="132635" y="660538"/>
          <a:ext cx="306181" cy="306181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3B4051-0770-4031-9EA5-4C4345355EF0}">
      <dsp:nvSpPr>
        <dsp:cNvPr id="0" name=""/>
        <dsp:cNvSpPr/>
      </dsp:nvSpPr>
      <dsp:spPr>
        <a:xfrm>
          <a:off x="532691" y="1526536"/>
          <a:ext cx="4287105" cy="15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B41552-4633-4A07-A10D-33BD6ECA781E}">
      <dsp:nvSpPr>
        <dsp:cNvPr id="0" name=""/>
        <dsp:cNvSpPr/>
      </dsp:nvSpPr>
      <dsp:spPr>
        <a:xfrm>
          <a:off x="532691" y="969842"/>
          <a:ext cx="4287105" cy="556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2550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300" kern="1200">
              <a:latin typeface="DM Sans"/>
            </a:rPr>
            <a:t>Review current safe sleep policy and update policy to reflect 2022 AAP Recommendations. </a:t>
          </a:r>
          <a:endParaRPr lang="en-US" sz="1300" kern="1200"/>
        </a:p>
      </dsp:txBody>
      <dsp:txXfrm>
        <a:off x="532691" y="969842"/>
        <a:ext cx="4287105" cy="556693"/>
      </dsp:txXfrm>
    </dsp:sp>
    <dsp:sp modelId="{6DB38C9C-DDD8-49AF-8A63-6696F37F2744}">
      <dsp:nvSpPr>
        <dsp:cNvPr id="0" name=""/>
        <dsp:cNvSpPr/>
      </dsp:nvSpPr>
      <dsp:spPr>
        <a:xfrm>
          <a:off x="285726" y="1091975"/>
          <a:ext cx="0" cy="1584435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1F01B2-495B-4E80-B19A-3D5F33285DE5}">
      <dsp:nvSpPr>
        <dsp:cNvPr id="0" name=""/>
        <dsp:cNvSpPr/>
      </dsp:nvSpPr>
      <dsp:spPr>
        <a:xfrm>
          <a:off x="235624" y="2626309"/>
          <a:ext cx="100204" cy="10020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FF2147-3759-4332-A275-FF8507D17E70}">
      <dsp:nvSpPr>
        <dsp:cNvPr id="0" name=""/>
        <dsp:cNvSpPr/>
      </dsp:nvSpPr>
      <dsp:spPr>
        <a:xfrm rot="18900000">
          <a:off x="2658960" y="4342372"/>
          <a:ext cx="393641" cy="393641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5C1AD6-9550-4F27-94F4-A80D44EFDF43}">
      <dsp:nvSpPr>
        <dsp:cNvPr id="0" name=""/>
        <dsp:cNvSpPr/>
      </dsp:nvSpPr>
      <dsp:spPr>
        <a:xfrm>
          <a:off x="2702691" y="4386103"/>
          <a:ext cx="306181" cy="306181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6D73B5-5A28-4D18-ABD7-5CF35A589C8A}">
      <dsp:nvSpPr>
        <dsp:cNvPr id="0" name=""/>
        <dsp:cNvSpPr/>
      </dsp:nvSpPr>
      <dsp:spPr>
        <a:xfrm>
          <a:off x="2985451" y="1383741"/>
          <a:ext cx="4287105" cy="15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4E2B90-B641-4359-942D-47D59112DE24}">
      <dsp:nvSpPr>
        <dsp:cNvPr id="0" name=""/>
        <dsp:cNvSpPr/>
      </dsp:nvSpPr>
      <dsp:spPr>
        <a:xfrm>
          <a:off x="2985451" y="2968176"/>
          <a:ext cx="4287105" cy="556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2550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300" kern="1200">
              <a:latin typeface="DM Sans"/>
            </a:rPr>
            <a:t>Disseminate recommendations and educate about safe sleep</a:t>
          </a:r>
        </a:p>
      </dsp:txBody>
      <dsp:txXfrm>
        <a:off x="2985451" y="2968176"/>
        <a:ext cx="4287105" cy="556693"/>
      </dsp:txXfrm>
    </dsp:sp>
    <dsp:sp modelId="{165656CC-241C-48F6-83A8-0DAB1014E2D6}">
      <dsp:nvSpPr>
        <dsp:cNvPr id="0" name=""/>
        <dsp:cNvSpPr/>
      </dsp:nvSpPr>
      <dsp:spPr>
        <a:xfrm>
          <a:off x="2855781" y="2676411"/>
          <a:ext cx="0" cy="1584435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37D170-275F-4014-9B66-B38F55AA3F65}">
      <dsp:nvSpPr>
        <dsp:cNvPr id="0" name=""/>
        <dsp:cNvSpPr/>
      </dsp:nvSpPr>
      <dsp:spPr>
        <a:xfrm>
          <a:off x="2805679" y="2626309"/>
          <a:ext cx="100204" cy="10020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087CE1-46CC-4FB3-B4AD-309234AAFE87}">
      <dsp:nvSpPr>
        <dsp:cNvPr id="0" name=""/>
        <dsp:cNvSpPr/>
      </dsp:nvSpPr>
      <dsp:spPr>
        <a:xfrm rot="8100000">
          <a:off x="5229016" y="616808"/>
          <a:ext cx="393641" cy="393641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9DE9ED-74E6-4839-BD98-A4FBC8C08BD8}">
      <dsp:nvSpPr>
        <dsp:cNvPr id="0" name=""/>
        <dsp:cNvSpPr/>
      </dsp:nvSpPr>
      <dsp:spPr>
        <a:xfrm>
          <a:off x="5272746" y="660538"/>
          <a:ext cx="306181" cy="306181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2825D4A-7310-4E45-84A1-B6D6EFA9D41B}">
      <dsp:nvSpPr>
        <dsp:cNvPr id="0" name=""/>
        <dsp:cNvSpPr/>
      </dsp:nvSpPr>
      <dsp:spPr>
        <a:xfrm>
          <a:off x="5801972" y="1034007"/>
          <a:ext cx="4287105" cy="15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45FA77-752E-4766-BC49-83928342663C}">
      <dsp:nvSpPr>
        <dsp:cNvPr id="0" name=""/>
        <dsp:cNvSpPr/>
      </dsp:nvSpPr>
      <dsp:spPr>
        <a:xfrm>
          <a:off x="5801972" y="477313"/>
          <a:ext cx="4287105" cy="556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2550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300" kern="1200" dirty="0">
              <a:latin typeface="DM Sans"/>
            </a:rPr>
            <a:t>Endorse and model safe sleep practices and incorporate safe sleep education into orientation, annual competencies and ongoing education.</a:t>
          </a:r>
          <a:endParaRPr lang="en-US" sz="1300" kern="1200" dirty="0"/>
        </a:p>
      </dsp:txBody>
      <dsp:txXfrm>
        <a:off x="5801972" y="477313"/>
        <a:ext cx="4287105" cy="556693"/>
      </dsp:txXfrm>
    </dsp:sp>
    <dsp:sp modelId="{F78D1BE8-6314-4CBF-82F2-7A3ECA21C592}">
      <dsp:nvSpPr>
        <dsp:cNvPr id="0" name=""/>
        <dsp:cNvSpPr/>
      </dsp:nvSpPr>
      <dsp:spPr>
        <a:xfrm>
          <a:off x="5425837" y="1091975"/>
          <a:ext cx="0" cy="1584435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EB2CF1-A372-4E04-BD92-5DA096699F16}">
      <dsp:nvSpPr>
        <dsp:cNvPr id="0" name=""/>
        <dsp:cNvSpPr/>
      </dsp:nvSpPr>
      <dsp:spPr>
        <a:xfrm>
          <a:off x="5375734" y="2626309"/>
          <a:ext cx="100204" cy="10020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48F4B1-7F5F-4A53-A952-22DBCA5BB3EC}">
      <dsp:nvSpPr>
        <dsp:cNvPr id="0" name=""/>
        <dsp:cNvSpPr/>
      </dsp:nvSpPr>
      <dsp:spPr>
        <a:xfrm>
          <a:off x="0" y="2139104"/>
          <a:ext cx="5256874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511F33-CA42-4152-A4A1-9DD03A2021F8}">
      <dsp:nvSpPr>
        <dsp:cNvPr id="0" name=""/>
        <dsp:cNvSpPr/>
      </dsp:nvSpPr>
      <dsp:spPr>
        <a:xfrm rot="8100000">
          <a:off x="63341" y="499130"/>
          <a:ext cx="302315" cy="302315"/>
        </a:xfrm>
        <a:prstGeom prst="teardrop">
          <a:avLst>
            <a:gd name="adj" fmla="val 1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D7ED5E-FB27-42A2-AA5A-D2F167CAF615}">
      <dsp:nvSpPr>
        <dsp:cNvPr id="0" name=""/>
        <dsp:cNvSpPr/>
      </dsp:nvSpPr>
      <dsp:spPr>
        <a:xfrm>
          <a:off x="96925" y="532714"/>
          <a:ext cx="235146" cy="23514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FABF29-6938-49B1-A567-2C728891E9CA}">
      <dsp:nvSpPr>
        <dsp:cNvPr id="0" name=""/>
        <dsp:cNvSpPr/>
      </dsp:nvSpPr>
      <dsp:spPr>
        <a:xfrm>
          <a:off x="428267" y="872754"/>
          <a:ext cx="1684279" cy="1266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88900" rIns="88900" bIns="13335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Equitable and Respectful Care Education and Implementation</a:t>
          </a:r>
        </a:p>
      </dsp:txBody>
      <dsp:txXfrm>
        <a:off x="428267" y="872754"/>
        <a:ext cx="1684279" cy="1266349"/>
      </dsp:txXfrm>
    </dsp:sp>
    <dsp:sp modelId="{9645BC26-64C3-4BAD-BB69-975CFA0A023B}">
      <dsp:nvSpPr>
        <dsp:cNvPr id="0" name=""/>
        <dsp:cNvSpPr/>
      </dsp:nvSpPr>
      <dsp:spPr>
        <a:xfrm>
          <a:off x="428267" y="427820"/>
          <a:ext cx="1684279" cy="444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0650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900" kern="1200"/>
            <a:t>January</a:t>
          </a:r>
        </a:p>
      </dsp:txBody>
      <dsp:txXfrm>
        <a:off x="428267" y="427820"/>
        <a:ext cx="1684279" cy="444933"/>
      </dsp:txXfrm>
    </dsp:sp>
    <dsp:sp modelId="{0878A462-46B3-4B25-9268-DE75AAAA8082}">
      <dsp:nvSpPr>
        <dsp:cNvPr id="0" name=""/>
        <dsp:cNvSpPr/>
      </dsp:nvSpPr>
      <dsp:spPr>
        <a:xfrm>
          <a:off x="214498" y="872754"/>
          <a:ext cx="0" cy="1266349"/>
        </a:xfrm>
        <a:prstGeom prst="line">
          <a:avLst/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2A234F-1E9D-4969-A922-A19F09F4C458}">
      <dsp:nvSpPr>
        <dsp:cNvPr id="0" name=""/>
        <dsp:cNvSpPr/>
      </dsp:nvSpPr>
      <dsp:spPr>
        <a:xfrm>
          <a:off x="184718" y="2099060"/>
          <a:ext cx="76956" cy="80088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5CD570-BD88-4B9C-A3F3-94C8F8344772}">
      <dsp:nvSpPr>
        <dsp:cNvPr id="0" name=""/>
        <dsp:cNvSpPr/>
      </dsp:nvSpPr>
      <dsp:spPr>
        <a:xfrm rot="18900000">
          <a:off x="1111206" y="3476763"/>
          <a:ext cx="302315" cy="302315"/>
        </a:xfrm>
        <a:prstGeom prst="teardrop">
          <a:avLst>
            <a:gd name="adj" fmla="val 11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2517CD-6564-4F8E-8536-A67BF33B4069}">
      <dsp:nvSpPr>
        <dsp:cNvPr id="0" name=""/>
        <dsp:cNvSpPr/>
      </dsp:nvSpPr>
      <dsp:spPr>
        <a:xfrm>
          <a:off x="1144791" y="3510348"/>
          <a:ext cx="235146" cy="23514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BF2188-6BF4-47CB-ACB2-C7EBAAA124D8}">
      <dsp:nvSpPr>
        <dsp:cNvPr id="0" name=""/>
        <dsp:cNvSpPr/>
      </dsp:nvSpPr>
      <dsp:spPr>
        <a:xfrm>
          <a:off x="1476133" y="2139104"/>
          <a:ext cx="1684279" cy="1266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33350" rIns="0" bIns="88900" numCol="1" spcCol="1270" anchor="b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Equitable and Respectful Care Education and Implementation Part 2</a:t>
          </a:r>
        </a:p>
      </dsp:txBody>
      <dsp:txXfrm>
        <a:off x="1476133" y="2139104"/>
        <a:ext cx="1684279" cy="1266349"/>
      </dsp:txXfrm>
    </dsp:sp>
    <dsp:sp modelId="{D0934DA1-1A1E-4382-BFE9-4832C18E047F}">
      <dsp:nvSpPr>
        <dsp:cNvPr id="0" name=""/>
        <dsp:cNvSpPr/>
      </dsp:nvSpPr>
      <dsp:spPr>
        <a:xfrm>
          <a:off x="1476133" y="3405454"/>
          <a:ext cx="1684279" cy="444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0650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900" kern="1200"/>
            <a:t>February</a:t>
          </a:r>
        </a:p>
      </dsp:txBody>
      <dsp:txXfrm>
        <a:off x="1476133" y="3405454"/>
        <a:ext cx="1684279" cy="444933"/>
      </dsp:txXfrm>
    </dsp:sp>
    <dsp:sp modelId="{FC6D5085-BC9A-425C-9655-F4EAAB9422C6}">
      <dsp:nvSpPr>
        <dsp:cNvPr id="0" name=""/>
        <dsp:cNvSpPr/>
      </dsp:nvSpPr>
      <dsp:spPr>
        <a:xfrm>
          <a:off x="1262364" y="2139104"/>
          <a:ext cx="0" cy="1266349"/>
        </a:xfrm>
        <a:prstGeom prst="line">
          <a:avLst/>
        </a:pr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2E5EF5-7EEC-4C17-8531-A7A2D99FD415}">
      <dsp:nvSpPr>
        <dsp:cNvPr id="0" name=""/>
        <dsp:cNvSpPr/>
      </dsp:nvSpPr>
      <dsp:spPr>
        <a:xfrm>
          <a:off x="1232583" y="2099060"/>
          <a:ext cx="76956" cy="8008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390ACF-8941-4B21-81FE-E24DE182F400}">
      <dsp:nvSpPr>
        <dsp:cNvPr id="0" name=""/>
        <dsp:cNvSpPr/>
      </dsp:nvSpPr>
      <dsp:spPr>
        <a:xfrm rot="8100000">
          <a:off x="2159072" y="499130"/>
          <a:ext cx="302315" cy="302315"/>
        </a:xfrm>
        <a:prstGeom prst="teardrop">
          <a:avLst>
            <a:gd name="adj" fmla="val 115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CE6054-7DA9-41CA-A822-B5AEFEF9A36D}">
      <dsp:nvSpPr>
        <dsp:cNvPr id="0" name=""/>
        <dsp:cNvSpPr/>
      </dsp:nvSpPr>
      <dsp:spPr>
        <a:xfrm>
          <a:off x="2192656" y="532714"/>
          <a:ext cx="235146" cy="23514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565CC8-066C-44C8-A00D-95B6F78719F0}">
      <dsp:nvSpPr>
        <dsp:cNvPr id="0" name=""/>
        <dsp:cNvSpPr/>
      </dsp:nvSpPr>
      <dsp:spPr>
        <a:xfrm>
          <a:off x="2523999" y="872754"/>
          <a:ext cx="1684279" cy="1266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88900" rIns="88900" bIns="13335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afe Sleep Environment Education and Implementation</a:t>
          </a:r>
        </a:p>
      </dsp:txBody>
      <dsp:txXfrm>
        <a:off x="2523999" y="872754"/>
        <a:ext cx="1684279" cy="1266349"/>
      </dsp:txXfrm>
    </dsp:sp>
    <dsp:sp modelId="{4183CEC0-935A-410C-86C6-DD5A3092D739}">
      <dsp:nvSpPr>
        <dsp:cNvPr id="0" name=""/>
        <dsp:cNvSpPr/>
      </dsp:nvSpPr>
      <dsp:spPr>
        <a:xfrm>
          <a:off x="2523999" y="427820"/>
          <a:ext cx="1684279" cy="444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0650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900" kern="1200"/>
            <a:t>March</a:t>
          </a:r>
        </a:p>
      </dsp:txBody>
      <dsp:txXfrm>
        <a:off x="2523999" y="427820"/>
        <a:ext cx="1684279" cy="444933"/>
      </dsp:txXfrm>
    </dsp:sp>
    <dsp:sp modelId="{8C47003B-F241-4006-92DC-837EB791561B}">
      <dsp:nvSpPr>
        <dsp:cNvPr id="0" name=""/>
        <dsp:cNvSpPr/>
      </dsp:nvSpPr>
      <dsp:spPr>
        <a:xfrm>
          <a:off x="2310229" y="872754"/>
          <a:ext cx="0" cy="1266349"/>
        </a:xfrm>
        <a:prstGeom prst="line">
          <a:avLst/>
        </a:pr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3026BE-E675-4141-8C6B-877C71AFCD1B}">
      <dsp:nvSpPr>
        <dsp:cNvPr id="0" name=""/>
        <dsp:cNvSpPr/>
      </dsp:nvSpPr>
      <dsp:spPr>
        <a:xfrm>
          <a:off x="2280449" y="2099060"/>
          <a:ext cx="76956" cy="80088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67F50D-D88C-4B95-A4A3-18B9756C037C}">
      <dsp:nvSpPr>
        <dsp:cNvPr id="0" name=""/>
        <dsp:cNvSpPr/>
      </dsp:nvSpPr>
      <dsp:spPr>
        <a:xfrm rot="18900000">
          <a:off x="3206937" y="3476763"/>
          <a:ext cx="302315" cy="302315"/>
        </a:xfrm>
        <a:prstGeom prst="teardrop">
          <a:avLst>
            <a:gd name="adj" fmla="val 1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1B5BCF-E41F-44D1-B630-6887D15A7398}">
      <dsp:nvSpPr>
        <dsp:cNvPr id="0" name=""/>
        <dsp:cNvSpPr/>
      </dsp:nvSpPr>
      <dsp:spPr>
        <a:xfrm>
          <a:off x="3240522" y="3510348"/>
          <a:ext cx="235146" cy="23514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EAA9EE-7BD3-411E-86E5-2BA99352C26E}">
      <dsp:nvSpPr>
        <dsp:cNvPr id="0" name=""/>
        <dsp:cNvSpPr/>
      </dsp:nvSpPr>
      <dsp:spPr>
        <a:xfrm>
          <a:off x="3571864" y="2139104"/>
          <a:ext cx="1684279" cy="1266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33350" rIns="0" bIns="88900" numCol="1" spcCol="1270" anchor="b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</a:rPr>
            <a:t>Safe Sleep </a:t>
          </a:r>
          <a:r>
            <a:rPr lang="en-US" sz="1400" kern="1200" dirty="0">
              <a:solidFill>
                <a:schemeClr val="tx1"/>
              </a:solidFill>
              <a:latin typeface="Calibri" panose="020F0502020204030204"/>
            </a:rPr>
            <a:t>Environment Education </a:t>
          </a:r>
          <a:r>
            <a:rPr lang="en-US" sz="1400" kern="1200" dirty="0">
              <a:solidFill>
                <a:schemeClr val="tx1"/>
              </a:solidFill>
            </a:rPr>
            <a:t>and </a:t>
          </a:r>
          <a:r>
            <a:rPr lang="en-US" sz="1400" kern="1200" dirty="0">
              <a:solidFill>
                <a:schemeClr val="tx1"/>
              </a:solidFill>
              <a:latin typeface="Calibri" panose="020F0502020204030204"/>
            </a:rPr>
            <a:t>Implementation</a:t>
          </a:r>
          <a:endParaRPr lang="en-US" sz="1400" kern="1200" dirty="0">
            <a:solidFill>
              <a:schemeClr val="tx1"/>
            </a:solidFill>
          </a:endParaRPr>
        </a:p>
      </dsp:txBody>
      <dsp:txXfrm>
        <a:off x="3571864" y="2139104"/>
        <a:ext cx="1684279" cy="1266349"/>
      </dsp:txXfrm>
    </dsp:sp>
    <dsp:sp modelId="{2FB1246F-9AFE-48AF-BDF2-C0001E8CE969}">
      <dsp:nvSpPr>
        <dsp:cNvPr id="0" name=""/>
        <dsp:cNvSpPr/>
      </dsp:nvSpPr>
      <dsp:spPr>
        <a:xfrm>
          <a:off x="3571864" y="3405454"/>
          <a:ext cx="1684279" cy="444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0650" bIns="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900" kern="1200"/>
            <a:t>April</a:t>
          </a:r>
        </a:p>
      </dsp:txBody>
      <dsp:txXfrm>
        <a:off x="3571864" y="3405454"/>
        <a:ext cx="1684279" cy="444933"/>
      </dsp:txXfrm>
    </dsp:sp>
    <dsp:sp modelId="{60A486CB-3970-483A-B450-0DD424E81EA2}">
      <dsp:nvSpPr>
        <dsp:cNvPr id="0" name=""/>
        <dsp:cNvSpPr/>
      </dsp:nvSpPr>
      <dsp:spPr>
        <a:xfrm>
          <a:off x="3358095" y="2139104"/>
          <a:ext cx="0" cy="1266349"/>
        </a:xfrm>
        <a:prstGeom prst="line">
          <a:avLst/>
        </a:pr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4AE90F-AC95-43B5-B942-8D97C0918650}">
      <dsp:nvSpPr>
        <dsp:cNvPr id="0" name=""/>
        <dsp:cNvSpPr/>
      </dsp:nvSpPr>
      <dsp:spPr>
        <a:xfrm>
          <a:off x="3328314" y="2099060"/>
          <a:ext cx="76956" cy="80088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202B0C-73E3-4FE0-AE31-9D4E51D7D38F}">
      <dsp:nvSpPr>
        <dsp:cNvPr id="0" name=""/>
        <dsp:cNvSpPr/>
      </dsp:nvSpPr>
      <dsp:spPr>
        <a:xfrm>
          <a:off x="0" y="4366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F77850-9AEC-4F25-AA31-E89395EE4FF0}">
      <dsp:nvSpPr>
        <dsp:cNvPr id="0" name=""/>
        <dsp:cNvSpPr/>
      </dsp:nvSpPr>
      <dsp:spPr>
        <a:xfrm>
          <a:off x="281355" y="213639"/>
          <a:ext cx="511556" cy="511556"/>
        </a:xfrm>
        <a:prstGeom prst="rect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AE225C-FE04-4CE9-A9A3-60CAC3219064}">
      <dsp:nvSpPr>
        <dsp:cNvPr id="0" name=""/>
        <dsp:cNvSpPr/>
      </dsp:nvSpPr>
      <dsp:spPr>
        <a:xfrm>
          <a:off x="1074268" y="4366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oster</a:t>
          </a:r>
          <a:r>
            <a:rPr lang="en-US" sz="1900" kern="1200">
              <a:latin typeface="Calibri" panose="020F0502020204030204"/>
            </a:rPr>
            <a:t> completed</a:t>
          </a:r>
          <a:endParaRPr lang="en-US" sz="1900" kern="1200"/>
        </a:p>
      </dsp:txBody>
      <dsp:txXfrm>
        <a:off x="1074268" y="4366"/>
        <a:ext cx="5170996" cy="930102"/>
      </dsp:txXfrm>
    </dsp:sp>
    <dsp:sp modelId="{B9A615F9-4B41-4A9E-B2E1-37E1E8A3C4E0}">
      <dsp:nvSpPr>
        <dsp:cNvPr id="0" name=""/>
        <dsp:cNvSpPr/>
      </dsp:nvSpPr>
      <dsp:spPr>
        <a:xfrm>
          <a:off x="0" y="1166994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BF02F5-C0DC-4756-9F1A-E5A4EAD919C2}">
      <dsp:nvSpPr>
        <dsp:cNvPr id="0" name=""/>
        <dsp:cNvSpPr/>
      </dsp:nvSpPr>
      <dsp:spPr>
        <a:xfrm>
          <a:off x="281355" y="1376267"/>
          <a:ext cx="511556" cy="511556"/>
        </a:xfrm>
        <a:prstGeom prst="rect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D8196F-B337-4AF8-AF88-96A24CCD0947}">
      <dsp:nvSpPr>
        <dsp:cNvPr id="0" name=""/>
        <dsp:cNvSpPr/>
      </dsp:nvSpPr>
      <dsp:spPr>
        <a:xfrm>
          <a:off x="1074268" y="1166994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eadiness survey</a:t>
          </a:r>
          <a:r>
            <a:rPr lang="en-US" sz="1900" kern="1200">
              <a:latin typeface="Calibri" panose="020F0502020204030204"/>
            </a:rPr>
            <a:t> submitted</a:t>
          </a:r>
          <a:endParaRPr lang="en-US" sz="1900" kern="1200"/>
        </a:p>
      </dsp:txBody>
      <dsp:txXfrm>
        <a:off x="1074268" y="1166994"/>
        <a:ext cx="5170996" cy="930102"/>
      </dsp:txXfrm>
    </dsp:sp>
    <dsp:sp modelId="{C835CB1C-8BCF-4E68-BA83-388E026FD4EC}">
      <dsp:nvSpPr>
        <dsp:cNvPr id="0" name=""/>
        <dsp:cNvSpPr/>
      </dsp:nvSpPr>
      <dsp:spPr>
        <a:xfrm>
          <a:off x="0" y="2329622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7798A9-D92B-4B89-8A82-E4C56811104B}">
      <dsp:nvSpPr>
        <dsp:cNvPr id="0" name=""/>
        <dsp:cNvSpPr/>
      </dsp:nvSpPr>
      <dsp:spPr>
        <a:xfrm>
          <a:off x="281355" y="2538895"/>
          <a:ext cx="511556" cy="511556"/>
        </a:xfrm>
        <a:prstGeom prst="rect">
          <a:avLst/>
        </a:prstGeom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C93FD6-FE78-4E19-8113-215B862E0B3B}">
      <dsp:nvSpPr>
        <dsp:cNvPr id="0" name=""/>
        <dsp:cNvSpPr/>
      </dsp:nvSpPr>
      <dsp:spPr>
        <a:xfrm>
          <a:off x="1074268" y="2329622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Data submission Baseline-March</a:t>
          </a:r>
          <a:r>
            <a:rPr lang="en-US" sz="1900" kern="1200">
              <a:latin typeface="Aptos Display" panose="020F0302020204030204"/>
            </a:rPr>
            <a:t> 2024</a:t>
          </a:r>
          <a:endParaRPr lang="en-US" sz="1900" kern="1200"/>
        </a:p>
      </dsp:txBody>
      <dsp:txXfrm>
        <a:off x="1074268" y="2329622"/>
        <a:ext cx="5170996" cy="930102"/>
      </dsp:txXfrm>
    </dsp:sp>
    <dsp:sp modelId="{5337A328-9D44-4FD8-A65D-8843ECCBAEB9}">
      <dsp:nvSpPr>
        <dsp:cNvPr id="0" name=""/>
        <dsp:cNvSpPr/>
      </dsp:nvSpPr>
      <dsp:spPr>
        <a:xfrm>
          <a:off x="0" y="3492250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83B2FA-E8DD-4F67-ABC9-8F64E73C68CB}">
      <dsp:nvSpPr>
        <dsp:cNvPr id="0" name=""/>
        <dsp:cNvSpPr/>
      </dsp:nvSpPr>
      <dsp:spPr>
        <a:xfrm>
          <a:off x="281355" y="3701523"/>
          <a:ext cx="511556" cy="511556"/>
        </a:xfrm>
        <a:prstGeom prst="rect">
          <a:avLst/>
        </a:prstGeom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C2D13B-CA3C-42DE-82A0-173555030FAA}">
      <dsp:nvSpPr>
        <dsp:cNvPr id="0" name=""/>
        <dsp:cNvSpPr/>
      </dsp:nvSpPr>
      <dsp:spPr>
        <a:xfrm>
          <a:off x="1074268" y="3492250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egular webinar attendance</a:t>
          </a:r>
          <a:endParaRPr lang="en-US" sz="1900" kern="1200"/>
        </a:p>
      </dsp:txBody>
      <dsp:txXfrm>
        <a:off x="1074268" y="3492250"/>
        <a:ext cx="5170996" cy="930102"/>
      </dsp:txXfrm>
    </dsp:sp>
    <dsp:sp modelId="{5615F553-8E0E-46E9-AADF-90659E3BED77}">
      <dsp:nvSpPr>
        <dsp:cNvPr id="0" name=""/>
        <dsp:cNvSpPr/>
      </dsp:nvSpPr>
      <dsp:spPr>
        <a:xfrm>
          <a:off x="0" y="4654878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8E9CB8-CF0C-4630-B17A-A79A810C1ED3}">
      <dsp:nvSpPr>
        <dsp:cNvPr id="0" name=""/>
        <dsp:cNvSpPr/>
      </dsp:nvSpPr>
      <dsp:spPr>
        <a:xfrm>
          <a:off x="281355" y="4864151"/>
          <a:ext cx="511556" cy="511556"/>
        </a:xfrm>
        <a:prstGeom prst="rect">
          <a:avLst/>
        </a:prstGeom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CD02C7-6B37-4267-AC58-EE3D761DFA40}">
      <dsp:nvSpPr>
        <dsp:cNvPr id="0" name=""/>
        <dsp:cNvSpPr/>
      </dsp:nvSpPr>
      <dsp:spPr>
        <a:xfrm>
          <a:off x="1074268" y="4654878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At least 1 ESSI team member </a:t>
          </a:r>
          <a:r>
            <a:rPr lang="en-US" sz="1900" b="1" i="0" kern="1200"/>
            <a:t>registered and attended</a:t>
          </a:r>
          <a:r>
            <a:rPr lang="en-US" sz="1900" b="0" i="0" kern="1200"/>
            <a:t> PQI Training </a:t>
          </a:r>
          <a:endParaRPr lang="en-US" sz="1900" kern="1200"/>
        </a:p>
      </dsp:txBody>
      <dsp:txXfrm>
        <a:off x="1074268" y="4654878"/>
        <a:ext cx="5170996" cy="9301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6" name="Google Shape;200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07" name="Google Shape;2007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008" name="Google Shape;2008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3321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1" name="Google Shape;2611;g2491ddcd1b9_0_405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612" name="Google Shape;2612;g2491ddcd1b9_0_405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13" name="Google Shape;2613;g2491ddcd1b9_0_405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081140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6418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9" name="Google Shape;2319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/>
            <a:endParaRPr lang="en-US" dirty="0"/>
          </a:p>
        </p:txBody>
      </p:sp>
      <p:sp>
        <p:nvSpPr>
          <p:cNvPr id="2320" name="Google Shape;2320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  <p:extLst>
      <p:ext uri="{BB962C8B-B14F-4D97-AF65-F5344CB8AC3E}">
        <p14:creationId xmlns:p14="http://schemas.microsoft.com/office/powerpoint/2010/main" val="42167711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2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663016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27" name="Google Shape;22727;p5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728" name="Google Shape;22728;p5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  <p:extLst>
      <p:ext uri="{BB962C8B-B14F-4D97-AF65-F5344CB8AC3E}">
        <p14:creationId xmlns:p14="http://schemas.microsoft.com/office/powerpoint/2010/main" val="29973043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  <p:extLst>
      <p:ext uri="{BB962C8B-B14F-4D97-AF65-F5344CB8AC3E}">
        <p14:creationId xmlns:p14="http://schemas.microsoft.com/office/powerpoint/2010/main" val="8069173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  <p:extLst>
      <p:ext uri="{BB962C8B-B14F-4D97-AF65-F5344CB8AC3E}">
        <p14:creationId xmlns:p14="http://schemas.microsoft.com/office/powerpoint/2010/main" val="231425936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7" name="Google Shape;2657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658" name="Google Shape;2658;p3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59" name="Google Shape;2659;p3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44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7" name="Google Shape;2657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658" name="Google Shape;2658;p3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59" name="Google Shape;2659;p3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835386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3395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3559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0850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4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0643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54.emf"/><Relationship Id="rId5" Type="http://schemas.openxmlformats.org/officeDocument/2006/relationships/image" Target="../media/image53.emf"/><Relationship Id="rId4" Type="http://schemas.openxmlformats.org/officeDocument/2006/relationships/image" Target="../media/image52.emf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5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2.emf"/><Relationship Id="rId4" Type="http://schemas.openxmlformats.org/officeDocument/2006/relationships/oleObject" Target="../embeddings/oleObject2.bin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54.emf"/><Relationship Id="rId5" Type="http://schemas.openxmlformats.org/officeDocument/2006/relationships/image" Target="../media/image53.emf"/><Relationship Id="rId4" Type="http://schemas.openxmlformats.org/officeDocument/2006/relationships/image" Target="../media/image52.emf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3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52.emf"/><Relationship Id="rId4" Type="http://schemas.openxmlformats.org/officeDocument/2006/relationships/oleObject" Target="../embeddings/oleObject5.bin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3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.bin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6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2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5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52.emf"/><Relationship Id="rId4" Type="http://schemas.openxmlformats.org/officeDocument/2006/relationships/oleObject" Target="../embeddings/oleObject9.bin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6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2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6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2.xml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2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Master" Target="../slideMasters/slideMaster2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2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2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2.xml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svg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0.svg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svg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2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7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3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3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3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9" name="Google Shape;19;p3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" name="Google Shape;20;p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3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" name="Google Shape;22;p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14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" name="Google Shape;117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" name="Google Shape;118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" name="Google Shape;119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0" name="Google Shape;120;p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" name="Google Shape;121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2" name="Google Shape;122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4" name="Google Shape;124;p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4" name="Google Shape;1074;p1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5" name="Google Shape;1075;p1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6" name="Google Shape;1076;p1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7" name="Google Shape;1077;p1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8" name="Google Shape;1078;p1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9" name="Google Shape;1079;p1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0" name="Google Shape;1080;p1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1" name="Google Shape;1081;p1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2" name="Google Shape;1082;p1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4" name="Google Shape;1084;p14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5" name="Google Shape;1085;p14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6" name="Google Shape;1086;p14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87" name="Google Shape;1087;p14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8" name="Google Shape;1088;p14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9" name="Google Shape;1089;p14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0" name="Google Shape;1090;p1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91" name="Google Shape;1091;p14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" name="Google Shape;1093;p1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4" name="Google Shape;1094;p1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5" name="Google Shape;1095;p1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6" name="Google Shape;1096;p1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7" name="Google Shape;1097;p1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8" name="Google Shape;1098;p1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9" name="Google Shape;1099;p1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0" name="Google Shape;1100;p1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" name="Google Shape;1102;p14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3" name="Google Shape;1103;p14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4" name="Google Shape;1104;p14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05" name="Google Shape;1105;p14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6" name="Google Shape;1106;p14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7" name="Google Shape;1107;p1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8" name="Google Shape;1108;p14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9" name="Google Shape;1109;p14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1" name="Google Shape;1111;p14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12" name="Google Shape;1112;p14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3" name="Google Shape;1113;p14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4" name="Google Shape;1114;p14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5" name="Google Shape;1115;p14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6" name="Google Shape;1116;p14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7" name="Google Shape;1117;p14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" name="Google Shape;1119;p14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20" name="Google Shape;1120;p14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21" name="Google Shape;1121;p14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2" name="Google Shape;1122;p14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3" name="Google Shape;1123;p14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24" name="Google Shape;1124;p14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25" name="Google Shape;1125;p14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" name="Google Shape;1127;p1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8" name="Google Shape;1128;p1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9" name="Google Shape;1129;p1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" name="Google Shape;1130;p1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1" name="Google Shape;1131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2" name="Google Shape;1132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3" name="Google Shape;1133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4" name="Google Shape;1134;p1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5" name="Google Shape;1135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6" name="Google Shape;1136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7" name="Google Shape;1137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8" name="Google Shape;1138;p14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1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0" name="Google Shape;1140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1" name="Google Shape;1141;p14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2" name="Google Shape;1142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" name="Google Shape;1143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4" name="Google Shape;1144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5" name="Google Shape;1145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6" name="Google Shape;1146;p1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" name="Google Shape;1147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8" name="Google Shape;1148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9" name="Google Shape;1149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1" name="Google Shape;1151;p1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2" name="Google Shape;1152;p1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53" name="Google Shape;1153;p1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4" name="Google Shape;1154;p1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5" name="Google Shape;1155;p1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6" name="Google Shape;1156;p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7" name="Google Shape;1157;p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8" name="Google Shape;1158;p14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9" name="Google Shape;1159;p14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0" name="Google Shape;1160;p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1" name="Google Shape;1161;p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3" name="Google Shape;1163;p1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4" name="Google Shape;1164;p1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5" name="Google Shape;1165;p1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6" name="Google Shape;1166;p1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7" name="Google Shape;1167;p1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8" name="Google Shape;1168;p1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9" name="Google Shape;1169;p14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0" name="Google Shape;1170;p14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1" name="Google Shape;1171;p14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2" name="Google Shape;1172;p14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3" name="Google Shape;1173;p1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4" name="Google Shape;1174;p1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5" name="Google Shape;1175;p1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" name="Google Shape;127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" name="Google Shape;130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" name="Google Shape;131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2" name="Google Shape;132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3" name="Google Shape;133;p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" name="Google Shape;134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5" name="Google Shape;135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7" name="Google Shape;137;p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7" name="Google Shape;1177;p1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8" name="Google Shape;1178;p1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9" name="Google Shape;1179;p1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0" name="Google Shape;1180;p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1" name="Google Shape;1181;p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2" name="Google Shape;1182;p1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3" name="Google Shape;1183;p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4" name="Google Shape;1184;p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5" name="Google Shape;1185;p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7" name="Google Shape;1187;p15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88" name="Google Shape;1188;p15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9" name="Google Shape;1189;p15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90" name="Google Shape;1190;p15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1" name="Google Shape;1191;p15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5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93" name="Google Shape;1193;p15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94" name="Google Shape;1194;p1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" name="Google Shape;1196;p1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7" name="Google Shape;1197;p1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8" name="Google Shape;1198;p1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9" name="Google Shape;1199;p1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00" name="Google Shape;1200;p1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1" name="Google Shape;1201;p1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2" name="Google Shape;1202;p1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3" name="Google Shape;1203;p1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5" name="Google Shape;1205;p15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6" name="Google Shape;1206;p15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7" name="Google Shape;1207;p15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8" name="Google Shape;1208;p1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9" name="Google Shape;1209;p1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0" name="Google Shape;1210;p1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11" name="Google Shape;1211;p1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12" name="Google Shape;1212;p15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3" name="Google Shape;1213;p1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14" name="Google Shape;1214;p1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5" name="Google Shape;1215;p1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16" name="Google Shape;1216;p15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1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" name="Google Shape;1218;p153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9" name="Google Shape;1219;p153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220" name="Google Shape;1220;p153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221" name="Google Shape;1221;p153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2" name="Google Shape;1222;p153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223" name="Google Shape;1223;p15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5" name="Google Shape;1225;p15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6" name="Google Shape;1226;p15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27" name="Google Shape;1227;p15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8" name="Google Shape;1228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9" name="Google Shape;1229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" name="Google Shape;1231;p15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2" name="Google Shape;1232;p15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3" name="Google Shape;1233;p15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34" name="Google Shape;1234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5" name="Google Shape;1235;p1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36" name="Google Shape;1236;p15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7" name="Google Shape;1237;p15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8" name="Google Shape;1238;p15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39" name="Google Shape;1239;p1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1" name="Google Shape;1241;p15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2" name="Google Shape;1242;p15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3" name="Google Shape;1243;p15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44" name="Google Shape;1244;p1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5" name="Google Shape;1245;p1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46" name="Google Shape;1246;p15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7" name="Google Shape;1247;p15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8" name="Google Shape;1248;p15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49" name="Google Shape;1249;p1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p15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2" name="Google Shape;1252;p1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3" name="Google Shape;1253;p1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4" name="Google Shape;1254;p15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55" name="Google Shape;1255;p15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7" name="Google Shape;1257;p15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58" name="Google Shape;1258;p15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59" name="Google Shape;1259;p15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0" name="Google Shape;1260;p15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1" name="Google Shape;1261;p15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1" name="Google Shape;141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" name="Google Shape;142;p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" name="Google Shape;143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4" name="Google Shape;144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" name="Google Shape;146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" name="Google Shape;148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" name="Google Shape;149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3" name="Google Shape;1263;p15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4" name="Google Shape;1264;p15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5" name="Google Shape;1265;p15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6" name="Google Shape;1266;p15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7" name="Google Shape;1267;p15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68" name="Google Shape;1268;p15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0" name="Google Shape;1270;p16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1" name="Google Shape;1271;p16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2" name="Google Shape;1272;p16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3" name="Google Shape;1273;p1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" name="Google Shape;1274;p1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75" name="Google Shape;1275;p16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6" name="Google Shape;1276;p16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7" name="Google Shape;1277;p16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78" name="Google Shape;1278;p1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" name="Google Shape;1280;p16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1" name="Google Shape;1281;p16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2" name="Google Shape;1282;p16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3" name="Google Shape;1283;p16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4" name="Google Shape;1284;p1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" name="Google Shape;1286;p16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87" name="Google Shape;1287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88" name="Google Shape;1288;p16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9" name="Google Shape;1289;p16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0" name="Google Shape;1290;p16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Google Shape;1292;p16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3" name="Google Shape;1293;p16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4" name="Google Shape;1294;p16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5" name="Google Shape;1295;p16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6" name="Google Shape;1296;p16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97" name="Google Shape;1297;p1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9" name="Google Shape;1299;p16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0" name="Google Shape;1300;p16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1" name="Google Shape;1301;p16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2" name="Google Shape;1302;p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3" name="Google Shape;1303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04" name="Google Shape;1304;p16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5" name="Google Shape;1305;p16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6" name="Google Shape;1306;p16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07" name="Google Shape;1307;p1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9" name="Google Shape;1309;p16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0" name="Google Shape;1310;p16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6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6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16" name="Google Shape;1316;p1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17" name="Google Shape;1317;p1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8" name="Google Shape;1318;p16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6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" name="Google Shape;1321;p16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6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3" name="Google Shape;1323;p16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4" name="Google Shape;1324;p16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5" name="Google Shape;1325;p16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26" name="Google Shape;1326;p1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16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9" name="Google Shape;1329;p16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0" name="Google Shape;1330;p16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31" name="Google Shape;1331;p1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2" name="Google Shape;1332;p1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33" name="Google Shape;1333;p16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6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5" name="Google Shape;1335;p16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36" name="Google Shape;1336;p16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" name="Google Shape;151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" name="Google Shape;152;p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" name="Google Shape;153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" name="Google Shape;154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" name="Google Shape;156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8" name="Google Shape;158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0" name="Google Shape;160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" name="Google Shape;162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3" name="Google Shape;163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8" name="Google Shape;1338;p16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9" name="Google Shape;1339;p16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0" name="Google Shape;1340;p1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1" name="Google Shape;1341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2" name="Google Shape;1342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3" name="Google Shape;1343;p16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4" name="Google Shape;1344;p16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5" name="Google Shape;1345;p16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46" name="Google Shape;1346;p16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8" name="Google Shape;1348;p17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9" name="Google Shape;1349;p17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7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7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7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7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55" name="Google Shape;1355;p17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56" name="Google Shape;1356;p17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7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8" name="Google Shape;1358;p17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7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1" name="Google Shape;1361;p17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2" name="Google Shape;1362;p17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3" name="Google Shape;1363;p17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4" name="Google Shape;1364;p17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65" name="Google Shape;1365;p17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7" name="Google Shape;1367;p173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8" name="Google Shape;1368;p173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369" name="Google Shape;1369;p17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70" name="Google Shape;1370;p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1" name="Google Shape;1371;p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3" name="Google Shape;1373;p174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4" name="Google Shape;1374;p174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375" name="Google Shape;1375;p174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376" name="Google Shape;1376;p1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77" name="Google Shape;1377;p1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8" name="Google Shape;1378;p1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0" name="Google Shape;1380;p175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1" name="Google Shape;1381;p175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82" name="Google Shape;1382;p175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3" name="Google Shape;1383;p175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84" name="Google Shape;1384;p175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5" name="Google Shape;1385;p175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86" name="Google Shape;1386;p175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7" name="Google Shape;1387;p175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388" name="Google Shape;1388;p1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0" name="Google Shape;1390;p1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1" name="Google Shape;1391;p1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2" name="Google Shape;1392;p1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3" name="Google Shape;1393;p1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4" name="Google Shape;1394;p1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5" name="Google Shape;1395;p1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96" name="Google Shape;1396;p1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97" name="Google Shape;1397;p1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8" name="Google Shape;1398;p1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9" name="Google Shape;1399;p1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0" name="Google Shape;1400;p1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01" name="Google Shape;1401;p17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3" name="Google Shape;1403;p17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4" name="Google Shape;1404;p17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05" name="Google Shape;1405;p17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6" name="Google Shape;1406;p17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07" name="Google Shape;1407;p17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8" name="Google Shape;1408;p17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09" name="Google Shape;1409;p17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0" name="Google Shape;1410;p17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411" name="Google Shape;1411;p17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" name="Google Shape;1413;p17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4" name="Google Shape;1414;p17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5" name="Google Shape;1415;p17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16" name="Google Shape;1416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7" name="Google Shape;1417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18" name="Google Shape;1418;p17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9" name="Google Shape;1419;p17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0" name="Google Shape;1420;p17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21" name="Google Shape;1421;p17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5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6" name="Google Shape;166;p5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7" name="Google Shape;167;p5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68" name="Google Shape;168;p5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169;p5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0" name="Google Shape;170;p5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1" name="Google Shape;171;p5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" name="Google Shape;1423;p17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4" name="Google Shape;1424;p17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5" name="Google Shape;1425;p17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6" name="Google Shape;1426;p17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27" name="Google Shape;1427;p17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9" name="Google Shape;1429;p1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30" name="Google Shape;1430;p18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31" name="Google Shape;1431;p1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2" name="Google Shape;1432;p18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3" name="Google Shape;1433;p18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5" name="Google Shape;1435;p18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6" name="Google Shape;1436;p18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7" name="Google Shape;1437;p18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8" name="Google Shape;1438;p18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9" name="Google Shape;1439;p18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40" name="Google Shape;1440;p18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2" name="Google Shape;1442;p18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3" name="Google Shape;1443;p18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4" name="Google Shape;1444;p18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45" name="Google Shape;1445;p1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6" name="Google Shape;1446;p1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47" name="Google Shape;1447;p18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8" name="Google Shape;1448;p18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9" name="Google Shape;1449;p18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50" name="Google Shape;1450;p1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2" name="Google Shape;1452;p18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3" name="Google Shape;1453;p18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4" name="Google Shape;1454;p18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5" name="Google Shape;1455;p18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56" name="Google Shape;1456;p18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8" name="Google Shape;1458;p18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59" name="Google Shape;1459;p18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60" name="Google Shape;1460;p18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1" name="Google Shape;1461;p18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2" name="Google Shape;1462;p18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" name="Google Shape;1464;p18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5" name="Google Shape;1465;p18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8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7" name="Google Shape;1467;p18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8" name="Google Shape;1468;p18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69" name="Google Shape;1469;p18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1" name="Google Shape;1471;p18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2" name="Google Shape;1472;p18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3" name="Google Shape;1473;p18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4" name="Google Shape;1474;p18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75" name="Google Shape;1475;p18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7" name="Google Shape;1477;p18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78" name="Google Shape;1478;p18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79" name="Google Shape;1479;p18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0" name="Google Shape;1480;p18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1" name="Google Shape;1481;p18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3" name="Google Shape;1483;p18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4" name="Google Shape;1484;p18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5" name="Google Shape;1485;p18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6" name="Google Shape;1486;p18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7" name="Google Shape;1487;p18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88" name="Google Shape;1488;p1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3" name="Google Shape;173;p5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4" name="Google Shape;174;p5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5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7" name="Google Shape;177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8" name="Google Shape;178;p5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5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0" name="Google Shape;1490;p18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1" name="Google Shape;1491;p18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2" name="Google Shape;1492;p18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93" name="Google Shape;1493;p18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94" name="Google Shape;1494;p18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95" name="Google Shape;1495;p1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6" name="Google Shape;1496;p18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7" name="Google Shape;1497;p1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9" name="Google Shape;1499;p19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00" name="Google Shape;1500;p19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1" name="Google Shape;1501;p1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2" name="Google Shape;1502;p19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03" name="Google Shape;1503;p1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04" name="Google Shape;1504;p19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5" name="Google Shape;1505;p19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7" name="Google Shape;1507;p19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08" name="Google Shape;1508;p19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09" name="Google Shape;1509;p19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10" name="Google Shape;1510;p19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1" name="Google Shape;1511;p19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12" name="Google Shape;1512;p19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13" name="Google Shape;1513;p1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" name="Google Shape;1515;p19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6" name="Google Shape;1516;p19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7" name="Google Shape;1517;p19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8" name="Google Shape;1518;p1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9" name="Google Shape;1519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0" name="Google Shape;1520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21" name="Google Shape;152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2" name="Google Shape;1522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3" name="Google Shape;152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4" name="Google Shape;152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5" name="Google Shape;152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6" name="Google Shape;1526;p19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1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8" name="Google Shape;1528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9" name="Google Shape;1529;p1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0" name="Google Shape;1530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1" name="Google Shape;1531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2" name="Google Shape;1532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33" name="Google Shape;1533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4" name="Google Shape;1534;p1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5" name="Google Shape;1535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6" name="Google Shape;1536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7" name="Google Shape;1537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" name="Google Shape;1539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0" name="Google Shape;1540;p1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41" name="Google Shape;1541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2" name="Google Shape;1542;p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3" name="Google Shape;1543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4" name="Google Shape;1544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5" name="Google Shape;1545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6" name="Google Shape;1546;p19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7" name="Google Shape;1547;p19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8" name="Google Shape;1548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9" name="Google Shape;1549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5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1" name="Google Shape;1551;p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52" name="Google Shape;1552;p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53" name="Google Shape;1553;p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54" name="Google Shape;1554;p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5" name="Google Shape;1555;p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56" name="Google Shape;1556;p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7" name="Google Shape;1557;p19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8" name="Google Shape;1558;p19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9" name="Google Shape;1559;p19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60" name="Google Shape;1560;p19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1" name="Google Shape;1561;p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2" name="Google Shape;1562;p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3" name="Google Shape;1563;p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5" name="Google Shape;1565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6" name="Google Shape;1566;p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7" name="Google Shape;1567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8" name="Google Shape;1568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9" name="Google Shape;1569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70" name="Google Shape;1570;p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1" name="Google Shape;1571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2" name="Google Shape;1572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3" name="Google Shape;1573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5" name="Google Shape;1575;p19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76" name="Google Shape;1576;p19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7" name="Google Shape;1577;p19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8" name="Google Shape;1578;p19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9" name="Google Shape;1579;p19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0" name="Google Shape;1580;p19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81" name="Google Shape;1581;p1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82" name="Google Shape;1582;p1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4" name="Google Shape;1584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85" name="Google Shape;1585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6" name="Google Shape;1586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7" name="Google Shape;1587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8" name="Google Shape;1588;p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9" name="Google Shape;1589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90" name="Google Shape;1590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1" name="Google Shape;1591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2" name="Google Shape;182;p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3" name="Google Shape;183;p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" name="Google Shape;184;p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6" name="Google Shape;186;p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7" name="Google Shape;187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19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4" name="Google Shape;1594;p19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5" name="Google Shape;1595;p19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96" name="Google Shape;1596;p1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97" name="Google Shape;1597;p19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98" name="Google Shape;1598;p1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9" name="Google Shape;1599;p19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00" name="Google Shape;1600;p1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2" name="Google Shape;1602;p20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03" name="Google Shape;1603;p20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4" name="Google Shape;1604;p2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5" name="Google Shape;1605;p20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06" name="Google Shape;1606;p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07" name="Google Shape;1607;p20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8" name="Google Shape;1608;p20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6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0" name="Google Shape;1610;p20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11" name="Google Shape;1611;p20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12" name="Google Shape;1612;p20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613" name="Google Shape;1613;p2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4" name="Google Shape;1614;p2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15" name="Google Shape;1615;p2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616" name="Google Shape;1616;p2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8" name="Google Shape;1618;p2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9" name="Google Shape;1619;p2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0" name="Google Shape;1620;p2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1" name="Google Shape;1621;p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2" name="Google Shape;1622;p2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3" name="Google Shape;1623;p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24" name="Google Shape;1624;p2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5" name="Google Shape;1625;p2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6" name="Google Shape;1626;p2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7" name="Google Shape;1627;p2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8" name="Google Shape;1628;p2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29" name="Google Shape;1629;p20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1" name="Google Shape;1631;p2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32" name="Google Shape;1632;p2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33" name="Google Shape;1633;p2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34" name="Google Shape;1634;p2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5" name="Google Shape;1635;p2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6" name="Google Shape;1636;p2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20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8" name="Google Shape;1638;p2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39" name="Google Shape;1639;p2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0" name="Google Shape;1640;p2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2" name="Google Shape;1642;p2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3" name="Google Shape;1643;p2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44" name="Google Shape;1644;p2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45" name="Google Shape;1645;p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46" name="Google Shape;1646;p2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47" name="Google Shape;1647;p2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8" name="Google Shape;1648;p2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49" name="Google Shape;1649;p2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0" name="Google Shape;1650;p2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51" name="Google Shape;1651;p2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2" name="Google Shape;1652;p2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4" name="Google Shape;1654;p2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55" name="Google Shape;1655;p2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56" name="Google Shape;1656;p2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57" name="Google Shape;1657;p2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8" name="Google Shape;1658;p2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59" name="Google Shape;1659;p2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0" name="Google Shape;1660;p2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61" name="Google Shape;1661;p2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2" name="Google Shape;1662;p2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63" name="Google Shape;1663;p2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4" name="Google Shape;1664;p2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5" name="Google Shape;1665;p2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6" name="Google Shape;1666;p2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8" name="Google Shape;1668;p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9" name="Google Shape;1669;p2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70" name="Google Shape;1670;p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71" name="Google Shape;1671;p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2" name="Google Shape;1672;p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73" name="Google Shape;1673;p2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4" name="Google Shape;1674;p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75" name="Google Shape;1675;p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6" name="Google Shape;1676;p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78" name="Google Shape;1678;p2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79" name="Google Shape;1679;p2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0" name="Google Shape;1680;p2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81" name="Google Shape;1681;p2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2" name="Google Shape;1682;p2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3" name="Google Shape;1683;p2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84" name="Google Shape;1684;p2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85" name="Google Shape;1685;p2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7" name="Google Shape;1687;p2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8" name="Google Shape;1688;p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9" name="Google Shape;1689;p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90" name="Google Shape;1690;p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1" name="Google Shape;1691;p2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2" name="Google Shape;1692;p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3" name="Google Shape;1693;p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4" name="Google Shape;1694;p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" name="Google Shape;190;p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" name="Google Shape;193;p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4" name="Google Shape;194;p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5" name="Google Shape;195;p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" name="Google Shape;196;p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7" name="Google Shape;197;p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8" name="Google Shape;198;p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199;p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0" name="Google Shape;200;p5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20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97" name="Google Shape;1697;p20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98" name="Google Shape;1698;p20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99" name="Google Shape;1699;p20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00" name="Google Shape;1700;p209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701" name="Google Shape;1701;p20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2" name="Google Shape;1702;p20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3" name="Google Shape;1703;p20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4" name="Google Shape;1704;p20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21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21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21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9" name="Google Shape;1709;p21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0" name="Google Shape;1710;p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11" name="Google Shape;1711;p21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3" name="Google Shape;1713;p21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4" name="Google Shape;1714;p21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5" name="Google Shape;1715;p21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16" name="Google Shape;1716;p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7" name="Google Shape;1717;p2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18" name="Google Shape;1718;p21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9" name="Google Shape;1719;p21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20" name="Google Shape;1720;p21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21" name="Google Shape;1721;p2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212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24" name="Google Shape;1724;p2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25" name="Google Shape;1725;p212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726" name="Google Shape;1726;p212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27" name="Google Shape;1727;p212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728" name="Google Shape;1728;p212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9" name="Google Shape;1729;p212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0" name="Google Shape;1730;p212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1" name="Google Shape;1731;p212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3" name="Google Shape;1733;p213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34" name="Google Shape;1734;p213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5" name="Google Shape;1735;p213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6" name="Google Shape;1736;p213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7" name="Google Shape;1737;p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38" name="Google Shape;1738;p213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0" name="Google Shape;1740;p21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41" name="Google Shape;1741;p21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2" name="Google Shape;1742;p2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3" name="Google Shape;1743;p21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44" name="Google Shape;1744;p2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45" name="Google Shape;1745;p21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6" name="Google Shape;1746;p21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8" name="Google Shape;1748;p21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49" name="Google Shape;1749;p21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50" name="Google Shape;1750;p21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51" name="Google Shape;1751;p21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2" name="Google Shape;1752;p21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53" name="Google Shape;1753;p21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54" name="Google Shape;1754;p21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6" name="Google Shape;1756;p2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57" name="Google Shape;1757;p2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8" name="Google Shape;1758;p2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59" name="Google Shape;1759;p2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0" name="Google Shape;1760;p2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1" name="Google Shape;1761;p2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2" name="Google Shape;1762;p2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3" name="Google Shape;1763;p2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5" name="Google Shape;1765;p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66" name="Google Shape;1766;p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7" name="Google Shape;1767;p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8" name="Google Shape;1768;p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9" name="Google Shape;1769;p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0" name="Google Shape;1770;p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71" name="Google Shape;1771;p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72" name="Google Shape;1772;p2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73" name="Google Shape;1773;p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74" name="Google Shape;1774;p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5" name="Google Shape;1775;p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76" name="Google Shape;1776;p21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7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8" name="Google Shape;1778;p2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9" name="Google Shape;1779;p2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80" name="Google Shape;1780;p2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1" name="Google Shape;1781;p2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2" name="Google Shape;1782;p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3" name="Google Shape;1783;p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4" name="Google Shape;1784;p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5" name="Google Shape;1785;p21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6" name="Google Shape;1786;p21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7" name="Google Shape;1787;p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8" name="Google Shape;1788;p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" name="Google Shape;203;p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5" name="Google Shape;205;p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6" name="Google Shape;206;p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7" name="Google Shape;207;p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8" name="Google Shape;208;p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9" name="Google Shape;209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0" name="Google Shape;210;p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1" name="Google Shape;211;p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13" name="Google Shape;213;p5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7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0" name="Google Shape;1790;p2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91" name="Google Shape;1791;p21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2" name="Google Shape;1792;p2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93" name="Google Shape;1793;p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4" name="Google Shape;1794;p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95" name="Google Shape;1795;p2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6" name="Google Shape;1796;p21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97" name="Google Shape;1797;p21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8" name="Google Shape;1798;p21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99" name="Google Shape;1799;p21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0" name="Google Shape;1800;p2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01" name="Google Shape;1801;p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2" name="Google Shape;1802;p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04" name="Google Shape;1804;p2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5" name="Google Shape;1805;p2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6" name="Google Shape;1806;p2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7" name="Google Shape;1807;p2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8" name="Google Shape;1808;p2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09" name="Google Shape;1809;p2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0" name="Google Shape;1810;p2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2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2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14" name="Google Shape;1814;p22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815" name="Google Shape;1815;p22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6" name="Google Shape;1816;p22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17" name="Google Shape;1817;p22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8" name="Google Shape;1818;p22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9" name="Google Shape;1819;p22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20" name="Google Shape;1820;p22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821" name="Google Shape;1821;p2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3" name="Google Shape;1823;p2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24" name="Google Shape;1824;p2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5" name="Google Shape;1825;p2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26" name="Google Shape;1826;p2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27" name="Google Shape;1827;p2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8" name="Google Shape;1828;p2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29" name="Google Shape;1829;p2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0" name="Google Shape;1830;p2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" name="Google Shape;1832;p2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33" name="Google Shape;1833;p2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4" name="Google Shape;1834;p2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5" name="Google Shape;1835;p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36" name="Google Shape;1836;p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7" name="Google Shape;1837;p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38" name="Google Shape;1838;p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39" name="Google Shape;1839;p2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40" name="Google Shape;1840;p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41" name="Google Shape;1841;p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2" name="Google Shape;1842;p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43" name="Google Shape;1843;p22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5" name="Google Shape;1845;p224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6" name="Google Shape;1846;p224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47" name="Google Shape;1847;p224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848" name="Google Shape;1848;p224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9" name="Google Shape;1849;p224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50" name="Google Shape;1850;p22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22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22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22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55" name="Google Shape;1855;p2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56" name="Google Shape;1856;p22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57" name="Google Shape;1857;p22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8" name="Google Shape;1858;p22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59" name="Google Shape;1859;p22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1" name="Google Shape;1861;p22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62" name="Google Shape;1862;p22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3" name="Google Shape;1863;p2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4" name="Google Shape;1864;p22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65" name="Google Shape;1865;p2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66" name="Google Shape;1866;p22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22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9" name="Google Shape;1869;p22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0" name="Google Shape;1870;p22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71" name="Google Shape;1871;p22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72" name="Google Shape;1872;p22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3" name="Google Shape;1873;p22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74" name="Google Shape;1874;p22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75" name="Google Shape;1875;p22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Google Shape;1877;p22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8" name="Google Shape;1878;p22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9" name="Google Shape;1879;p2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0" name="Google Shape;1880;p2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1" name="Google Shape;1881;p2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2" name="Google Shape;1882;p2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83" name="Google Shape;1883;p2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84" name="Google Shape;1884;p22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5" name="Google Shape;1885;p2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6" name="Google Shape;1886;p2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7" name="Google Shape;1887;p2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88" name="Google Shape;1888;p22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" name="Google Shape;215;p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6" name="Google Shape;216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7" name="Google Shape;217;p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8" name="Google Shape;218;p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0" name="Google Shape;220;p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" name="Google Shape;221;p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2" name="Google Shape;222;p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3" name="Google Shape;223;p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4" name="Google Shape;224;p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0" name="Google Shape;1890;p22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1" name="Google Shape;1891;p22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2" name="Google Shape;1892;p22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3" name="Google Shape;1893;p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4" name="Google Shape;1894;p2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5" name="Google Shape;1895;p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96" name="Google Shape;1896;p2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7" name="Google Shape;1897;p22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8" name="Google Shape;1898;p2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9" name="Google Shape;1899;p2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0" name="Google Shape;1900;p2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01" name="Google Shape;1901;p22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3" name="Google Shape;1903;p2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4" name="Google Shape;1904;p23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5" name="Google Shape;1905;p2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6" name="Google Shape;1906;p2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7" name="Google Shape;1907;p2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8" name="Google Shape;1908;p2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9" name="Google Shape;1909;p2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0" name="Google Shape;1910;p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1" name="Google Shape;1911;p2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2" name="Google Shape;1912;p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" name="Google Shape;1914;p2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5" name="Google Shape;1915;p23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916" name="Google Shape;1916;p2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7" name="Google Shape;1917;p23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8" name="Google Shape;1918;p2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9" name="Google Shape;1919;p2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0" name="Google Shape;1920;p2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1" name="Google Shape;1921;p23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2" name="Google Shape;1922;p23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3" name="Google Shape;1923;p2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4" name="Google Shape;1924;p2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6" name="Google Shape;1926;p2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27" name="Google Shape;1927;p23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28" name="Google Shape;1928;p2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29" name="Google Shape;1929;p2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0" name="Google Shape;1930;p2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31" name="Google Shape;1931;p2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2" name="Google Shape;1932;p23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3" name="Google Shape;1933;p23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4" name="Google Shape;1934;p23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5" name="Google Shape;1935;p23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6" name="Google Shape;1936;p2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7" name="Google Shape;1937;p2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8" name="Google Shape;1938;p2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0" name="Google Shape;1940;p2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41" name="Google Shape;1941;p23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42" name="Google Shape;1942;p2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3" name="Google Shape;1943;p2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4" name="Google Shape;1944;p2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45" name="Google Shape;1945;p2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6" name="Google Shape;1946;p2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47" name="Google Shape;1947;p2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48" name="Google Shape;1948;p2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0" name="Google Shape;1950;p23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51" name="Google Shape;1951;p23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2" name="Google Shape;1952;p23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53" name="Google Shape;1953;p23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4" name="Google Shape;1954;p23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5" name="Google Shape;1955;p23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56" name="Google Shape;1956;p2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57" name="Google Shape;1957;p23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9" name="Google Shape;1959;p2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60" name="Google Shape;1960;p2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1" name="Google Shape;1961;p2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2" name="Google Shape;1962;p2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3" name="Google Shape;1963;p23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4" name="Google Shape;1964;p2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5" name="Google Shape;1965;p2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6" name="Google Shape;1966;p2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8" name="Google Shape;1968;p23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9" name="Google Shape;1969;p236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0" name="Google Shape;1970;p2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971" name="Google Shape;1971;p236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2" name="Google Shape;1972;p23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73" name="Google Shape;1973;p236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4" name="Google Shape;1974;p236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5" name="Google Shape;1975;p236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6" name="Google Shape;1976;p2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7" name="Google Shape;1977;p23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78" name="Google Shape;1978;p2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0" name="Google Shape;1980;p2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1" name="Google Shape;1981;p2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2" name="Google Shape;1982;p2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3" name="Google Shape;1983;p2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4" name="Google Shape;1984;p2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85" name="Google Shape;1985;p2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86" name="Google Shape;1986;p2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87" name="Google Shape;1987;p2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88" name="Google Shape;1988;p2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89" name="Google Shape;1989;p2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0" name="Google Shape;1990;p2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91" name="Google Shape;1991;p23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9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3" name="Google Shape;1993;p2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4" name="Google Shape;1994;p2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5" name="Google Shape;1995;p2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96" name="Google Shape;1996;p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97" name="Google Shape;1997;p2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8" name="Google Shape;1998;p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99" name="Google Shape;1999;p2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00" name="Google Shape;2000;p2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01" name="Google Shape;2001;p2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02" name="Google Shape;2002;p2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3" name="Google Shape;2003;p2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04" name="Google Shape;2004;p23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oogle Shape;24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" name="Google Shape;25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" name="Google Shape;26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" name="Google Shape;27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" name="Google Shape;28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" name="Google Shape;29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" name="Google Shape;31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" name="Google Shape;32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" name="Google Shape;33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oogle Shape;226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7" name="Google Shape;227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8" name="Google Shape;228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9" name="Google Shape;229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1" name="Google Shape;231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3" name="Google Shape;233;p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" name="Google Shape;234;p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5" name="Google Shape;235;p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" name="Google Shape;236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7" name="Google Shape;237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8" name="Google Shape;238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67315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0" name="Google Shape;240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1" name="Google Shape;241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2" name="Google Shape;242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3" name="Google Shape;243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5" name="Google Shape;245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" name="Google Shape;246;p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" name="Google Shape;247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" name="Google Shape;248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0" name="Google Shape;250;p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1" name="Google Shape;251;p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52;p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3" name="Google Shape;253;p6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6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5" name="Google Shape;255;p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56" name="Google Shape;256;p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57" name="Google Shape;257;p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0" name="Google Shape;260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1" name="Google Shape;261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2" name="Google Shape;262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3" name="Google Shape;263;p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4" name="Google Shape;264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5" name="Google Shape;265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266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6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269;p6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p6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71" name="Google Shape;271;p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72" name="Google Shape;272;p6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73" name="Google Shape;273;p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6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5" name="Google Shape;275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7" name="Google Shape;277;p6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78" name="Google Shape;278;p6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6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1" name="Google Shape;281;p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82" name="Google Shape;282;p6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6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299099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8" name="Google Shape;288;p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9" name="Google Shape;289;p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0" name="Google Shape;290;p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1" name="Google Shape;291;p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2" name="Google Shape;292;p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3" name="Google Shape;293;p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4" name="Google Shape;294;p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295;p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6" name="Google Shape;296;p6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8" name="Google Shape;298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9" name="Google Shape;299;p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0" name="Google Shape;300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1" name="Google Shape;301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302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3" name="Google Shape;303;p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" name="Google Shape;304;p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5" name="Google Shape;305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6" name="Google Shape;306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7" name="Google Shape;307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p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11" name="Google Shape;311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2" name="Google Shape;312;p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3" name="Google Shape;313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4" name="Google Shape;314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6" name="Google Shape;316;p6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7" name="Google Shape;317;p6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8" name="Google Shape;318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9" name="Google Shape;319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1" name="Google Shape;321;p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2" name="Google Shape;322;p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3" name="Google Shape;323;p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4" name="Google Shape;324;p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6" name="Google Shape;326;p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6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8" name="Google Shape;328;p6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9" name="Google Shape;329;p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30" name="Google Shape;330;p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2" name="Google Shape;332;p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" name="Google Shape;333;p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oogle Shape;35;p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" name="Google Shape;36;p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" name="Google Shape;37;p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" name="Google Shape;38;p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" name="Google Shape;40;p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" name="Google Shape;43;p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" name="Google Shape;44;p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Google Shape;335;p6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36" name="Google Shape;336;p6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37" name="Google Shape;337;p6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38" name="Google Shape;338;p6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339;p6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0" name="Google Shape;340;p6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41" name="Google Shape;341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3" name="Google Shape;343;p6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44" name="Google Shape;344;p6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345;p6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6" name="Google Shape;346;p6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" name="Google Shape;347;p6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8" name="Google Shape;348;p6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9" name="Google Shape;349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50" name="Google Shape;350;p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3" name="Google Shape;353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4" name="Google Shape;354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5" name="Google Shape;355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6" name="Google Shape;356;p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7" name="Google Shape;357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8" name="Google Shape;358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9" name="Google Shape;359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1" name="Google Shape;361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2" name="Google Shape;362;p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3" name="Google Shape;363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4" name="Google Shape;364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5" name="Google Shape;365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6" name="Google Shape;366;p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7" name="Google Shape;367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8" name="Google Shape;368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9" name="Google Shape;369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7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2" name="Google Shape;372;p7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3" name="Google Shape;373;p7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74" name="Google Shape;374;p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75" name="Google Shape;375;p7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76" name="Google Shape;376;p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377;p7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78" name="Google Shape;378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818642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4781546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829019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0" name="Google Shape;380;p7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81" name="Google Shape;381;p7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382;p7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383;p7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84" name="Google Shape;384;p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85" name="Google Shape;385;p7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7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658575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11013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008366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32136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59555195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1522953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668804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86211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7949696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p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" name="Google Shape;389;p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0" name="Google Shape;390;p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" name="Google Shape;391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2" name="Google Shape;392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3" name="Google Shape;393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94" name="Google Shape;394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5" name="Google Shape;395;p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6" name="Google Shape;396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7" name="Google Shape;397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8" name="Google Shape;398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9" name="Google Shape;399;p7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434678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056590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" name="Google Shape;401;p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2" name="Google Shape;402;p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3" name="Google Shape;403;p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4" name="Google Shape;404;p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5" name="Google Shape;405;p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6" name="Google Shape;406;p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7" name="Google Shape;407;p7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8" name="Google Shape;408;p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9" name="Google Shape;409;p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0" name="Google Shape;410;p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" name="Google Shape;412;p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3" name="Google Shape;413;p7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14" name="Google Shape;414;p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5" name="Google Shape;415;p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6" name="Google Shape;416;p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7" name="Google Shape;417;p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8" name="Google Shape;418;p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9" name="Google Shape;419;p7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0" name="Google Shape;420;p7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1" name="Google Shape;421;p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2" name="Google Shape;422;p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008025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937929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4" name="Google Shape;424;p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5" name="Google Shape;425;p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6" name="Google Shape;426;p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7" name="Google Shape;427;p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8" name="Google Shape;428;p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9" name="Google Shape;429;p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0" name="Google Shape;430;p7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1" name="Google Shape;431;p7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2" name="Google Shape;432;p7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3" name="Google Shape;433;p7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4" name="Google Shape;434;p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5" name="Google Shape;435;p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6" name="Google Shape;436;p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092572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716721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5037749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6002367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9855488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21826003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499530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1410609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561641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9384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0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0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48" name="Google Shape;48;p10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49" name="Google Shape;49;p10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10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1" name="Google Shape;51;p10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Google Shape;438;p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39" name="Google Shape;439;p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0" name="Google Shape;440;p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41" name="Google Shape;441;p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" name="Google Shape;442;p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43" name="Google Shape;443;p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44" name="Google Shape;444;p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6" name="Google Shape;446;p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7" name="Google Shape;447;p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" name="Google Shape;448;p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9" name="Google Shape;449;p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0" name="Google Shape;450;p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1" name="Google Shape;451;p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52" name="Google Shape;452;p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3" name="Google Shape;453;p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4" name="Google Shape;454;p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5" name="Google Shape;455;p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7" name="Google Shape;457;p7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9" name="Google Shape;459;p8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60" name="Google Shape;460;p8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1" name="Google Shape;461;p8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2" name="Google Shape;462;p8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" name="Google Shape;463;p8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4" name="Google Shape;464;p8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65" name="Google Shape;465;p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66" name="Google Shape;466;p8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71260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4322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p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9" name="Google Shape;469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0" name="Google Shape;470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71" name="Google Shape;471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2" name="Google Shape;472;p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3" name="Google Shape;473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4" name="Google Shape;474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5" name="Google Shape;475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873984959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461207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066305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7" name="Google Shape;477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8" name="Google Shape;478;p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9" name="Google Shape;479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0" name="Google Shape;480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" name="Google Shape;481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2" name="Google Shape;482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4" name="Google Shape;484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5" name="Google Shape;485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" name="Google Shape;487;p8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8" name="Google Shape;488;p8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9" name="Google Shape;489;p8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90" name="Google Shape;490;p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91" name="Google Shape;491;p8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92" name="Google Shape;492;p8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8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94" name="Google Shape;494;p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6" name="Google Shape;496;p8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97" name="Google Shape;497;p8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8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8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0" name="Google Shape;500;p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01" name="Google Shape;501;p8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2" name="Google Shape;502;p8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8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05" name="Google Shape;505;p8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06" name="Google Shape;506;p8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07" name="Google Shape;507;p8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8" name="Google Shape;508;p8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9" name="Google Shape;509;p8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10" name="Google Shape;510;p8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Google Shape;512;p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3" name="Google Shape;513;p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" name="Google Shape;514;p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18" name="Google Shape;518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9" name="Google Shape;519;p8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0" name="Google Shape;520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1" name="Google Shape;521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2" name="Google Shape;522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3" name="Google Shape;523;p8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Google Shape;525;p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6" name="Google Shape;526;p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" name="Google Shape;527;p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8" name="Google Shape;528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9" name="Google Shape;529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0" name="Google Shape;530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1" name="Google Shape;531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2" name="Google Shape;532;p8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3" name="Google Shape;533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4" name="Google Shape;534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5" name="Google Shape;535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6" name="Google Shape;536;p8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oogle Shape;53;p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" name="Google Shape;54;p4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" name="Google Shape;55;p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" name="Google Shape;56;p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" name="Google Shape;57;p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" name="Google Shape;58;p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4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" name="Google Shape;61;p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" name="Google Shape;62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" name="Google Shape;538;p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8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40" name="Google Shape;540;p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1" name="Google Shape;541;p8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2" name="Google Shape;542;p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3" name="Google Shape;543;p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4" name="Google Shape;544;p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5" name="Google Shape;545;p8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6" name="Google Shape;546;p8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7" name="Google Shape;547;p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8" name="Google Shape;548;p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0" name="Google Shape;550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1" name="Google Shape;551;p8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2" name="Google Shape;552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3" name="Google Shape;553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5" name="Google Shape;555;p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6" name="Google Shape;556;p8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7" name="Google Shape;557;p8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8" name="Google Shape;558;p8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9" name="Google Shape;559;p8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0" name="Google Shape;560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1" name="Google Shape;561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2" name="Google Shape;562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4" name="Google Shape;564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5" name="Google Shape;565;p9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6" name="Google Shape;566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7" name="Google Shape;567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9" name="Google Shape;569;p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0" name="Google Shape;570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1" name="Google Shape;571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2" name="Google Shape;572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4" name="Google Shape;574;p9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75" name="Google Shape;575;p9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9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7" name="Google Shape;577;p9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8" name="Google Shape;578;p9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9" name="Google Shape;579;p9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80" name="Google Shape;580;p9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81" name="Google Shape;581;p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Google Shape;583;p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4" name="Google Shape;584;p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5" name="Google Shape;585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86" name="Google Shape;586;p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7" name="Google Shape;587;p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8" name="Google Shape;588;p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9" name="Google Shape;589;p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0" name="Google Shape;590;p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Google Shape;592;p9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3" name="Google Shape;593;p9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4" name="Google Shape;594;p9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95" name="Google Shape;595;p9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96" name="Google Shape;596;p9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97" name="Google Shape;597;p9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8" name="Google Shape;598;p9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9" name="Google Shape;599;p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p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2" name="Google Shape;602;p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p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4" name="Google Shape;604;p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5" name="Google Shape;605;p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6" name="Google Shape;606;p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07" name="Google Shape;607;p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8" name="Google Shape;608;p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9" name="Google Shape;609;p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0" name="Google Shape;610;p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1" name="Google Shape;611;p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2" name="Google Shape;612;p9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" name="Google Shape;614;p9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15" name="Google Shape;615;p9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6" name="Google Shape;616;p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7" name="Google Shape;617;p9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18" name="Google Shape;618;p9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19" name="Google Shape;619;p9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0" name="Google Shape;620;p9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6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" name="Google Shape;622;p9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3" name="Google Shape;623;p9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4" name="Google Shape;624;p9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5" name="Google Shape;625;p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6" name="Google Shape;626;p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7" name="Google Shape;627;p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28" name="Google Shape;628;p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9" name="Google Shape;629;p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0" name="Google Shape;630;p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1" name="Google Shape;631;p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2" name="Google Shape;632;p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3" name="Google Shape;633;p9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5" name="Google Shape;635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6" name="Google Shape;636;p9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7" name="Google Shape;637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8" name="Google Shape;638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9" name="Google Shape;639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0" name="Google Shape;640;p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" name="Google Shape;641;p9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2" name="Google Shape;642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3" name="Google Shape;643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4" name="Google Shape;644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6" name="Google Shape;66;p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" name="Google Shape;67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" name="Google Shape;68;p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" name="Google Shape;69;p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" name="Google Shape;71;p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" name="Google Shape;72;p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" name="Google Shape;73;p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" name="Google Shape;74;p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Google Shape;646;p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" name="Google Shape;647;p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48" name="Google Shape;648;p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9" name="Google Shape;649;p9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0" name="Google Shape;650;p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1" name="Google Shape;651;p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2" name="Google Shape;652;p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3" name="Google Shape;653;p9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4" name="Google Shape;654;p9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5" name="Google Shape;655;p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6" name="Google Shape;656;p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8" name="Google Shape;658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9" name="Google Shape;659;p9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0" name="Google Shape;660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1" name="Google Shape;661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2" name="Google Shape;662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63" name="Google Shape;663;p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4" name="Google Shape;664;p9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65" name="Google Shape;665;p9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" name="Google Shape;666;p9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67" name="Google Shape;667;p9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8" name="Google Shape;668;p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9" name="Google Shape;669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0" name="Google Shape;670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" name="Google Shape;672;p1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73" name="Google Shape;673;p1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74" name="Google Shape;674;p1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75" name="Google Shape;675;p1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6" name="Google Shape;676;p1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7" name="Google Shape;677;p1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78" name="Google Shape;678;p10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0" name="Google Shape;680;p10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81" name="Google Shape;681;p10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" name="Google Shape;682;p10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83" name="Google Shape;683;p10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4" name="Google Shape;684;p10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5" name="Google Shape;685;p10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86" name="Google Shape;686;p10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87" name="Google Shape;687;p10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" name="Google Shape;689;p1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0" name="Google Shape;690;p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1" name="Google Shape;691;p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92" name="Google Shape;692;p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3" name="Google Shape;693;p10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4" name="Google Shape;694;p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5" name="Google Shape;695;p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6" name="Google Shape;696;p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8" name="Google Shape;698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9" name="Google Shape;699;p10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0" name="Google Shape;700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1" name="Google Shape;701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2" name="Google Shape;702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3" name="Google Shape;703;p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4" name="Google Shape;704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5" name="Google Shape;705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6" name="Google Shape;706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8" name="Google Shape;708;p10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09" name="Google Shape;709;p10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0" name="Google Shape;710;p10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1" name="Google Shape;711;p10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2" name="Google Shape;712;p10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3" name="Google Shape;713;p10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14" name="Google Shape;714;p10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15" name="Google Shape;715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1248361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1684694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5/28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5/28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" name="Google Shape;717;p1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" name="Google Shape;718;p1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" name="Google Shape;719;p1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0" name="Google Shape;720;p1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1" name="Google Shape;721;p10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2" name="Google Shape;722;p1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3" name="Google Shape;723;p1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4" name="Google Shape;724;p1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489293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0569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7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6" name="Google Shape;726;p10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7" name="Google Shape;727;p10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8" name="Google Shape;728;p10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29" name="Google Shape;729;p10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30" name="Google Shape;730;p10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31" name="Google Shape;731;p10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2" name="Google Shape;732;p10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33" name="Google Shape;733;p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177511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09929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7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5" name="Google Shape;735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6" name="Google Shape;736;p1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7" name="Google Shape;737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8" name="Google Shape;738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9" name="Google Shape;739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0" name="Google Shape;740;p1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" name="Google Shape;741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2" name="Google Shape;742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3" name="Google Shape;743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" name="Google Shape;85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" name="Google Shape;86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7" name="Google Shape;87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" name="Google Shape;88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" name="Google Shape;89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" name="Google Shape;90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5" name="Google Shape;745;p10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46" name="Google Shape;746;p10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7" name="Google Shape;747;p1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8" name="Google Shape;748;p10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49" name="Google Shape;749;p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50" name="Google Shape;750;p10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1" name="Google Shape;751;p10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" name="Google Shape;753;p11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54" name="Google Shape;754;p11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55" name="Google Shape;755;p11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56" name="Google Shape;756;p11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Google Shape;757;p11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8" name="Google Shape;758;p11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59" name="Google Shape;759;p1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" name="Google Shape;761;p11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" name="Google Shape;762;p11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3" name="Google Shape;763;p11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64" name="Google Shape;764;p11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65" name="Google Shape;765;p11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66" name="Google Shape;766;p11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7" name="Google Shape;767;p11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68" name="Google Shape;768;p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0" name="Google Shape;770;p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1" name="Google Shape;771;p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2" name="Google Shape;772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3" name="Google Shape;773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4" name="Google Shape;774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5" name="Google Shape;775;p1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6" name="Google Shape;776;p1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7" name="Google Shape;777;p1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8" name="Google Shape;778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9" name="Google Shape;779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5/28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2602547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5/28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3719964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1" name="Google Shape;781;p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2" name="Google Shape;782;p1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83" name="Google Shape;7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4" name="Google Shape;784;p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5" name="Google Shape;7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6" name="Google Shape;7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7" name="Google Shape;7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8" name="Google Shape;788;p11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9" name="Google Shape;789;p1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0" name="Google Shape;790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1" name="Google Shape;791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3" name="Google Shape;793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4" name="Google Shape;794;p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5" name="Google Shape;795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6" name="Google Shape;796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7" name="Google Shape;797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8" name="Google Shape;798;p1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9" name="Google Shape;799;p11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0" name="Google Shape;800;p11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1" name="Google Shape;801;p1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2" name="Google Shape;802;p1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3" name="Google Shape;803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4" name="Google Shape;804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5" name="Google Shape;805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9842675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74650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4249136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603317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7" name="Google Shape;807;p1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8" name="Google Shape;808;p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9" name="Google Shape;809;p1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0" name="Google Shape;810;p1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1" name="Google Shape;811;p1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2" name="Google Shape;812;p1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3" name="Google Shape;813;p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4" name="Google Shape;814;p1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5" name="Google Shape;815;p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8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" name="Google Shape;817;p11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8" name="Google Shape;818;p11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9" name="Google Shape;819;p1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0" name="Google Shape;820;p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1" name="Google Shape;821;p1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2" name="Google Shape;822;p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3" name="Google Shape;823;p1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4" name="Google Shape;824;p1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5" name="Google Shape;825;p1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6" name="Google Shape;826;p1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7" name="Google Shape;827;p1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8" name="Google Shape;828;p11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8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0" name="Google Shape;830;p1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31" name="Google Shape;831;p1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2" name="Google Shape;832;p1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3" name="Google Shape;833;p11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4" name="Google Shape;834;p11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5" name="Google Shape;835;p1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36" name="Google Shape;836;p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37" name="Google Shape;837;p1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" name="Google Shape;839;p11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0" name="Google Shape;840;p11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" name="Google Shape;841;p11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42" name="Google Shape;842;p11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43" name="Google Shape;843;p11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44" name="Google Shape;844;p1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5" name="Google Shape;845;p11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6" name="Google Shape;846;p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Google Shape;93;p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" name="Google Shape;94;p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" name="Google Shape;95;p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" name="Google Shape;96;p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" name="Google Shape;98;p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" name="Google Shape;101;p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" name="Google Shape;102;p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" name="Google Shape;848;p1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9" name="Google Shape;849;p1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0" name="Google Shape;850;p1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" name="Google Shape;851;p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2" name="Google Shape;852;p1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3" name="Google Shape;853;p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54" name="Google Shape;854;p1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5" name="Google Shape;855;p1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6" name="Google Shape;856;p1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7" name="Google Shape;857;p1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8" name="Google Shape;858;p1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9" name="Google Shape;859;p11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1" name="Google Shape;861;p12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62" name="Google Shape;862;p12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3" name="Google Shape;863;p12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4" name="Google Shape;864;p12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5" name="Google Shape;865;p1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66" name="Google Shape;866;p12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7" name="Google Shape;867;p12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12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0" name="Google Shape;870;p12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1" name="Google Shape;871;p12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2" name="Google Shape;872;p12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3" name="Google Shape;873;p12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4" name="Google Shape;874;p12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75" name="Google Shape;875;p1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12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8" name="Google Shape;878;p1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9" name="Google Shape;879;p1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0" name="Google Shape;880;p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1" name="Google Shape;881;p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2" name="Google Shape;882;p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83" name="Google Shape;883;p1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4" name="Google Shape;884;p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5" name="Google Shape;885;p1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6" name="Google Shape;886;p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7" name="Google Shape;887;p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8" name="Google Shape;888;p12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p1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1" name="Google Shape;891;p1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2" name="Google Shape;892;p1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3" name="Google Shape;893;p1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" name="Google Shape;894;p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" name="Google Shape;895;p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6" name="Google Shape;896;p1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" name="Google Shape;897;p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" name="Google Shape;898;p1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" name="Google Shape;899;p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" name="Google Shape;900;p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1" name="Google Shape;901;p12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3" name="Google Shape;903;p12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4" name="Google Shape;904;p12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05" name="Google Shape;905;p1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06" name="Google Shape;906;p12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07" name="Google Shape;907;p1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08" name="Google Shape;908;p12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9" name="Google Shape;909;p12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" name="Google Shape;910;p12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1" name="Google Shape;911;p1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2" name="Google Shape;912;p12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13" name="Google Shape;913;p1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" name="Google Shape;915;p1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6" name="Google Shape;916;p1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7" name="Google Shape;917;p1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8" name="Google Shape;918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9" name="Google Shape;919;p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0" name="Google Shape;920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1" name="Google Shape;921;p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2" name="Google Shape;922;p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3" name="Google Shape;923;p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4" name="Google Shape;924;p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5" name="Google Shape;925;p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6" name="Google Shape;926;p12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9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8" name="Google Shape;928;p1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9" name="Google Shape;929;p1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30" name="Google Shape;930;p1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1" name="Google Shape;931;p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2" name="Google Shape;932;p1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3" name="Google Shape;933;p1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4" name="Google Shape;934;p1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5" name="Google Shape;935;p12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6" name="Google Shape;936;p12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7" name="Google Shape;937;p1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8" name="Google Shape;938;p1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0" name="Google Shape;940;p1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1" name="Google Shape;941;p1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2" name="Google Shape;942;p1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3" name="Google Shape;943;p1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4" name="Google Shape;944;p1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5" name="Google Shape;945;p1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6" name="Google Shape;946;p12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47" name="Google Shape;947;p12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12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49" name="Google Shape;949;p12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" name="Google Shape;950;p1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1" name="Google Shape;951;p1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2" name="Google Shape;952;p1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4" name="Google Shape;954;p1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5" name="Google Shape;955;p1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6" name="Google Shape;956;p1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7" name="Google Shape;957;p1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8" name="Google Shape;958;p1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9" name="Google Shape;959;p1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" name="Google Shape;960;p1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1" name="Google Shape;961;p1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2" name="Google Shape;962;p1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" name="Google Shape;105;p4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4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" name="Google Shape;107;p4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8" name="Google Shape;108;p4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" name="Google Shape;109;p4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110;p4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" name="Google Shape;111;p4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4" name="Google Shape;964;p12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65" name="Google Shape;965;p12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6" name="Google Shape;966;p12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67" name="Google Shape;967;p12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8" name="Google Shape;968;p12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9" name="Google Shape;969;p12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70" name="Google Shape;970;p1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71" name="Google Shape;971;p1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9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3" name="Google Shape;973;p13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4" name="Google Shape;974;p13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5" name="Google Shape;975;p13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6" name="Google Shape;976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7" name="Google Shape;977;p1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8" name="Google Shape;97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9" name="Google Shape;979;p1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0" name="Google Shape;980;p13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1" name="Google Shape;981;p1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2" name="Google Shape;982;p1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3" name="Google Shape;983;p1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4" name="Google Shape;984;p13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6" name="Google Shape;986;p1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7" name="Google Shape;987;p1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" name="Google Shape;988;p1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9" name="Google Shape;989;p1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0" name="Google Shape;990;p1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1" name="Google Shape;991;p1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2" name="Google Shape;992;p1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" name="Google Shape;993;p13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4" name="Google Shape;994;p1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5" name="Google Shape;995;p1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6" name="Google Shape;996;p1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7" name="Google Shape;997;p1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9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" name="Google Shape;999;p13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0" name="Google Shape;1000;p13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1" name="Google Shape;1001;p13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02" name="Google Shape;1002;p13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03" name="Google Shape;1003;p13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04" name="Google Shape;1004;p1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5" name="Google Shape;1005;p13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06" name="Google Shape;1006;p1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8" name="Google Shape;1008;p13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09" name="Google Shape;1009;p1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0" name="Google Shape;1010;p1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1" name="Google Shape;1011;p1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2" name="Google Shape;1012;p1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13" name="Google Shape;1013;p13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4" name="Google Shape;1014;p13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1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" name="Google Shape;1016;p13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17" name="Google Shape;1017;p13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18" name="Google Shape;1018;p13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19" name="Google Shape;1019;p13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0" name="Google Shape;1020;p13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1" name="Google Shape;1021;p13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22" name="Google Shape;1022;p1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" name="Google Shape;1024;p13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5" name="Google Shape;1025;p13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6" name="Google Shape;1026;p13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7" name="Google Shape;1027;p1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8" name="Google Shape;1028;p1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9" name="Google Shape;1029;p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0" name="Google Shape;1030;p1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1" name="Google Shape;1031;p1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2" name="Google Shape;1032;p1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3" name="Google Shape;1033;p1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4" name="Google Shape;1034;p1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5" name="Google Shape;1035;p13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1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7" name="Google Shape;1037;p1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8" name="Google Shape;1038;p1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9" name="Google Shape;1039;p1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0" name="Google Shape;1040;p1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1" name="Google Shape;1041;p1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2" name="Google Shape;1042;p1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4" name="Google Shape;1044;p1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5" name="Google Shape;1045;p1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6" name="Google Shape;1046;p1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" name="Google Shape;1048;p1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" name="Google Shape;1049;p13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50" name="Google Shape;1050;p1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1" name="Google Shape;1051;p1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2" name="Google Shape;1052;p1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3" name="Google Shape;1053;p1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4" name="Google Shape;1054;p1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5" name="Google Shape;1055;p13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6" name="Google Shape;1056;p13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7" name="Google Shape;1057;p1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8" name="Google Shape;1058;p1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0" name="Google Shape;1060;p1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1" name="Google Shape;1061;p1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2" name="Google Shape;1062;p1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3" name="Google Shape;1063;p1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4" name="Google Shape;1064;p1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5" name="Google Shape;1065;p1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6" name="Google Shape;1066;p13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7" name="Google Shape;1067;p13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8" name="Google Shape;1068;p13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9" name="Google Shape;1069;p13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0" name="Google Shape;1070;p1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1" name="Google Shape;1071;p1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2" name="Google Shape;1072;p1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191" Type="http://schemas.openxmlformats.org/officeDocument/2006/relationships/slideLayout" Target="../slideLayouts/slideLayout191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199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5" Type="http://schemas.openxmlformats.org/officeDocument/2006/relationships/slideLayout" Target="../slideLayouts/slideLayout195.xml"/><Relationship Id="rId190" Type="http://schemas.openxmlformats.org/officeDocument/2006/relationships/slideLayout" Target="../slideLayouts/slideLayout190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theme" Target="../theme/theme1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317.xml"/><Relationship Id="rId21" Type="http://schemas.openxmlformats.org/officeDocument/2006/relationships/slideLayout" Target="../slideLayouts/slideLayout221.xml"/><Relationship Id="rId324" Type="http://schemas.openxmlformats.org/officeDocument/2006/relationships/slideLayout" Target="../slideLayouts/slideLayout524.xml"/><Relationship Id="rId531" Type="http://schemas.openxmlformats.org/officeDocument/2006/relationships/slideLayout" Target="../slideLayouts/slideLayout731.xml"/><Relationship Id="rId170" Type="http://schemas.openxmlformats.org/officeDocument/2006/relationships/slideLayout" Target="../slideLayouts/slideLayout370.xml"/><Relationship Id="rId268" Type="http://schemas.openxmlformats.org/officeDocument/2006/relationships/slideLayout" Target="../slideLayouts/slideLayout468.xml"/><Relationship Id="rId475" Type="http://schemas.openxmlformats.org/officeDocument/2006/relationships/slideLayout" Target="../slideLayouts/slideLayout675.xml"/><Relationship Id="rId32" Type="http://schemas.openxmlformats.org/officeDocument/2006/relationships/slideLayout" Target="../slideLayouts/slideLayout232.xml"/><Relationship Id="rId128" Type="http://schemas.openxmlformats.org/officeDocument/2006/relationships/slideLayout" Target="../slideLayouts/slideLayout328.xml"/><Relationship Id="rId335" Type="http://schemas.openxmlformats.org/officeDocument/2006/relationships/slideLayout" Target="../slideLayouts/slideLayout535.xml"/><Relationship Id="rId181" Type="http://schemas.openxmlformats.org/officeDocument/2006/relationships/slideLayout" Target="../slideLayouts/slideLayout381.xml"/><Relationship Id="rId402" Type="http://schemas.openxmlformats.org/officeDocument/2006/relationships/slideLayout" Target="../slideLayouts/slideLayout602.xml"/><Relationship Id="rId279" Type="http://schemas.openxmlformats.org/officeDocument/2006/relationships/slideLayout" Target="../slideLayouts/slideLayout479.xml"/><Relationship Id="rId486" Type="http://schemas.openxmlformats.org/officeDocument/2006/relationships/slideLayout" Target="../slideLayouts/slideLayout686.xml"/><Relationship Id="rId43" Type="http://schemas.openxmlformats.org/officeDocument/2006/relationships/slideLayout" Target="../slideLayouts/slideLayout243.xml"/><Relationship Id="rId139" Type="http://schemas.openxmlformats.org/officeDocument/2006/relationships/slideLayout" Target="../slideLayouts/slideLayout339.xml"/><Relationship Id="rId290" Type="http://schemas.openxmlformats.org/officeDocument/2006/relationships/slideLayout" Target="../slideLayouts/slideLayout490.xml"/><Relationship Id="rId304" Type="http://schemas.openxmlformats.org/officeDocument/2006/relationships/slideLayout" Target="../slideLayouts/slideLayout504.xml"/><Relationship Id="rId346" Type="http://schemas.openxmlformats.org/officeDocument/2006/relationships/slideLayout" Target="../slideLayouts/slideLayout546.xml"/><Relationship Id="rId388" Type="http://schemas.openxmlformats.org/officeDocument/2006/relationships/slideLayout" Target="../slideLayouts/slideLayout588.xml"/><Relationship Id="rId511" Type="http://schemas.openxmlformats.org/officeDocument/2006/relationships/slideLayout" Target="../slideLayouts/slideLayout711.xml"/><Relationship Id="rId85" Type="http://schemas.openxmlformats.org/officeDocument/2006/relationships/slideLayout" Target="../slideLayouts/slideLayout285.xml"/><Relationship Id="rId150" Type="http://schemas.openxmlformats.org/officeDocument/2006/relationships/slideLayout" Target="../slideLayouts/slideLayout350.xml"/><Relationship Id="rId192" Type="http://schemas.openxmlformats.org/officeDocument/2006/relationships/slideLayout" Target="../slideLayouts/slideLayout392.xml"/><Relationship Id="rId206" Type="http://schemas.openxmlformats.org/officeDocument/2006/relationships/slideLayout" Target="../slideLayouts/slideLayout406.xml"/><Relationship Id="rId413" Type="http://schemas.openxmlformats.org/officeDocument/2006/relationships/slideLayout" Target="../slideLayouts/slideLayout613.xml"/><Relationship Id="rId248" Type="http://schemas.openxmlformats.org/officeDocument/2006/relationships/slideLayout" Target="../slideLayouts/slideLayout448.xml"/><Relationship Id="rId455" Type="http://schemas.openxmlformats.org/officeDocument/2006/relationships/slideLayout" Target="../slideLayouts/slideLayout655.xml"/><Relationship Id="rId497" Type="http://schemas.openxmlformats.org/officeDocument/2006/relationships/slideLayout" Target="../slideLayouts/slideLayout697.xml"/><Relationship Id="rId12" Type="http://schemas.openxmlformats.org/officeDocument/2006/relationships/slideLayout" Target="../slideLayouts/slideLayout212.xml"/><Relationship Id="rId108" Type="http://schemas.openxmlformats.org/officeDocument/2006/relationships/slideLayout" Target="../slideLayouts/slideLayout308.xml"/><Relationship Id="rId315" Type="http://schemas.openxmlformats.org/officeDocument/2006/relationships/slideLayout" Target="../slideLayouts/slideLayout515.xml"/><Relationship Id="rId357" Type="http://schemas.openxmlformats.org/officeDocument/2006/relationships/slideLayout" Target="../slideLayouts/slideLayout557.xml"/><Relationship Id="rId522" Type="http://schemas.openxmlformats.org/officeDocument/2006/relationships/slideLayout" Target="../slideLayouts/slideLayout722.xml"/><Relationship Id="rId54" Type="http://schemas.openxmlformats.org/officeDocument/2006/relationships/slideLayout" Target="../slideLayouts/slideLayout254.xml"/><Relationship Id="rId96" Type="http://schemas.openxmlformats.org/officeDocument/2006/relationships/slideLayout" Target="../slideLayouts/slideLayout296.xml"/><Relationship Id="rId161" Type="http://schemas.openxmlformats.org/officeDocument/2006/relationships/slideLayout" Target="../slideLayouts/slideLayout361.xml"/><Relationship Id="rId217" Type="http://schemas.openxmlformats.org/officeDocument/2006/relationships/slideLayout" Target="../slideLayouts/slideLayout417.xml"/><Relationship Id="rId399" Type="http://schemas.openxmlformats.org/officeDocument/2006/relationships/slideLayout" Target="../slideLayouts/slideLayout599.xml"/><Relationship Id="rId259" Type="http://schemas.openxmlformats.org/officeDocument/2006/relationships/slideLayout" Target="../slideLayouts/slideLayout459.xml"/><Relationship Id="rId424" Type="http://schemas.openxmlformats.org/officeDocument/2006/relationships/slideLayout" Target="../slideLayouts/slideLayout624.xml"/><Relationship Id="rId466" Type="http://schemas.openxmlformats.org/officeDocument/2006/relationships/slideLayout" Target="../slideLayouts/slideLayout666.xml"/><Relationship Id="rId23" Type="http://schemas.openxmlformats.org/officeDocument/2006/relationships/slideLayout" Target="../slideLayouts/slideLayout223.xml"/><Relationship Id="rId119" Type="http://schemas.openxmlformats.org/officeDocument/2006/relationships/slideLayout" Target="../slideLayouts/slideLayout319.xml"/><Relationship Id="rId270" Type="http://schemas.openxmlformats.org/officeDocument/2006/relationships/slideLayout" Target="../slideLayouts/slideLayout470.xml"/><Relationship Id="rId326" Type="http://schemas.openxmlformats.org/officeDocument/2006/relationships/slideLayout" Target="../slideLayouts/slideLayout526.xml"/><Relationship Id="rId533" Type="http://schemas.openxmlformats.org/officeDocument/2006/relationships/slideLayout" Target="../slideLayouts/slideLayout733.xml"/><Relationship Id="rId65" Type="http://schemas.openxmlformats.org/officeDocument/2006/relationships/slideLayout" Target="../slideLayouts/slideLayout265.xml"/><Relationship Id="rId130" Type="http://schemas.openxmlformats.org/officeDocument/2006/relationships/slideLayout" Target="../slideLayouts/slideLayout330.xml"/><Relationship Id="rId368" Type="http://schemas.openxmlformats.org/officeDocument/2006/relationships/slideLayout" Target="../slideLayouts/slideLayout568.xml"/><Relationship Id="rId172" Type="http://schemas.openxmlformats.org/officeDocument/2006/relationships/slideLayout" Target="../slideLayouts/slideLayout372.xml"/><Relationship Id="rId228" Type="http://schemas.openxmlformats.org/officeDocument/2006/relationships/slideLayout" Target="../slideLayouts/slideLayout428.xml"/><Relationship Id="rId435" Type="http://schemas.openxmlformats.org/officeDocument/2006/relationships/slideLayout" Target="../slideLayouts/slideLayout635.xml"/><Relationship Id="rId477" Type="http://schemas.openxmlformats.org/officeDocument/2006/relationships/slideLayout" Target="../slideLayouts/slideLayout677.xml"/><Relationship Id="rId281" Type="http://schemas.openxmlformats.org/officeDocument/2006/relationships/slideLayout" Target="../slideLayouts/slideLayout481.xml"/><Relationship Id="rId337" Type="http://schemas.openxmlformats.org/officeDocument/2006/relationships/slideLayout" Target="../slideLayouts/slideLayout537.xml"/><Relationship Id="rId502" Type="http://schemas.openxmlformats.org/officeDocument/2006/relationships/slideLayout" Target="../slideLayouts/slideLayout702.xml"/><Relationship Id="rId34" Type="http://schemas.openxmlformats.org/officeDocument/2006/relationships/slideLayout" Target="../slideLayouts/slideLayout234.xml"/><Relationship Id="rId76" Type="http://schemas.openxmlformats.org/officeDocument/2006/relationships/slideLayout" Target="../slideLayouts/slideLayout276.xml"/><Relationship Id="rId141" Type="http://schemas.openxmlformats.org/officeDocument/2006/relationships/slideLayout" Target="../slideLayouts/slideLayout341.xml"/><Relationship Id="rId379" Type="http://schemas.openxmlformats.org/officeDocument/2006/relationships/slideLayout" Target="../slideLayouts/slideLayout579.xml"/><Relationship Id="rId7" Type="http://schemas.openxmlformats.org/officeDocument/2006/relationships/slideLayout" Target="../slideLayouts/slideLayout207.xml"/><Relationship Id="rId183" Type="http://schemas.openxmlformats.org/officeDocument/2006/relationships/slideLayout" Target="../slideLayouts/slideLayout383.xml"/><Relationship Id="rId239" Type="http://schemas.openxmlformats.org/officeDocument/2006/relationships/slideLayout" Target="../slideLayouts/slideLayout439.xml"/><Relationship Id="rId390" Type="http://schemas.openxmlformats.org/officeDocument/2006/relationships/slideLayout" Target="../slideLayouts/slideLayout590.xml"/><Relationship Id="rId404" Type="http://schemas.openxmlformats.org/officeDocument/2006/relationships/slideLayout" Target="../slideLayouts/slideLayout604.xml"/><Relationship Id="rId446" Type="http://schemas.openxmlformats.org/officeDocument/2006/relationships/slideLayout" Target="../slideLayouts/slideLayout646.xml"/><Relationship Id="rId250" Type="http://schemas.openxmlformats.org/officeDocument/2006/relationships/slideLayout" Target="../slideLayouts/slideLayout450.xml"/><Relationship Id="rId292" Type="http://schemas.openxmlformats.org/officeDocument/2006/relationships/slideLayout" Target="../slideLayouts/slideLayout492.xml"/><Relationship Id="rId306" Type="http://schemas.openxmlformats.org/officeDocument/2006/relationships/slideLayout" Target="../slideLayouts/slideLayout506.xml"/><Relationship Id="rId488" Type="http://schemas.openxmlformats.org/officeDocument/2006/relationships/slideLayout" Target="../slideLayouts/slideLayout688.xml"/><Relationship Id="rId45" Type="http://schemas.openxmlformats.org/officeDocument/2006/relationships/slideLayout" Target="../slideLayouts/slideLayout245.xml"/><Relationship Id="rId87" Type="http://schemas.openxmlformats.org/officeDocument/2006/relationships/slideLayout" Target="../slideLayouts/slideLayout287.xml"/><Relationship Id="rId110" Type="http://schemas.openxmlformats.org/officeDocument/2006/relationships/slideLayout" Target="../slideLayouts/slideLayout310.xml"/><Relationship Id="rId348" Type="http://schemas.openxmlformats.org/officeDocument/2006/relationships/slideLayout" Target="../slideLayouts/slideLayout548.xml"/><Relationship Id="rId513" Type="http://schemas.openxmlformats.org/officeDocument/2006/relationships/slideLayout" Target="../slideLayouts/slideLayout713.xml"/><Relationship Id="rId152" Type="http://schemas.openxmlformats.org/officeDocument/2006/relationships/slideLayout" Target="../slideLayouts/slideLayout352.xml"/><Relationship Id="rId194" Type="http://schemas.openxmlformats.org/officeDocument/2006/relationships/slideLayout" Target="../slideLayouts/slideLayout394.xml"/><Relationship Id="rId208" Type="http://schemas.openxmlformats.org/officeDocument/2006/relationships/slideLayout" Target="../slideLayouts/slideLayout408.xml"/><Relationship Id="rId415" Type="http://schemas.openxmlformats.org/officeDocument/2006/relationships/slideLayout" Target="../slideLayouts/slideLayout615.xml"/><Relationship Id="rId457" Type="http://schemas.openxmlformats.org/officeDocument/2006/relationships/slideLayout" Target="../slideLayouts/slideLayout657.xml"/><Relationship Id="rId261" Type="http://schemas.openxmlformats.org/officeDocument/2006/relationships/slideLayout" Target="../slideLayouts/slideLayout461.xml"/><Relationship Id="rId499" Type="http://schemas.openxmlformats.org/officeDocument/2006/relationships/slideLayout" Target="../slideLayouts/slideLayout699.xml"/><Relationship Id="rId14" Type="http://schemas.openxmlformats.org/officeDocument/2006/relationships/slideLayout" Target="../slideLayouts/slideLayout214.xml"/><Relationship Id="rId56" Type="http://schemas.openxmlformats.org/officeDocument/2006/relationships/slideLayout" Target="../slideLayouts/slideLayout256.xml"/><Relationship Id="rId317" Type="http://schemas.openxmlformats.org/officeDocument/2006/relationships/slideLayout" Target="../slideLayouts/slideLayout517.xml"/><Relationship Id="rId359" Type="http://schemas.openxmlformats.org/officeDocument/2006/relationships/slideLayout" Target="../slideLayouts/slideLayout559.xml"/><Relationship Id="rId524" Type="http://schemas.openxmlformats.org/officeDocument/2006/relationships/slideLayout" Target="../slideLayouts/slideLayout724.xml"/><Relationship Id="rId98" Type="http://schemas.openxmlformats.org/officeDocument/2006/relationships/slideLayout" Target="../slideLayouts/slideLayout298.xml"/><Relationship Id="rId121" Type="http://schemas.openxmlformats.org/officeDocument/2006/relationships/slideLayout" Target="../slideLayouts/slideLayout321.xml"/><Relationship Id="rId163" Type="http://schemas.openxmlformats.org/officeDocument/2006/relationships/slideLayout" Target="../slideLayouts/slideLayout363.xml"/><Relationship Id="rId219" Type="http://schemas.openxmlformats.org/officeDocument/2006/relationships/slideLayout" Target="../slideLayouts/slideLayout419.xml"/><Relationship Id="rId370" Type="http://schemas.openxmlformats.org/officeDocument/2006/relationships/slideLayout" Target="../slideLayouts/slideLayout570.xml"/><Relationship Id="rId426" Type="http://schemas.openxmlformats.org/officeDocument/2006/relationships/slideLayout" Target="../slideLayouts/slideLayout626.xml"/><Relationship Id="rId230" Type="http://schemas.openxmlformats.org/officeDocument/2006/relationships/slideLayout" Target="../slideLayouts/slideLayout430.xml"/><Relationship Id="rId468" Type="http://schemas.openxmlformats.org/officeDocument/2006/relationships/slideLayout" Target="../slideLayouts/slideLayout668.xml"/><Relationship Id="rId25" Type="http://schemas.openxmlformats.org/officeDocument/2006/relationships/slideLayout" Target="../slideLayouts/slideLayout225.xml"/><Relationship Id="rId67" Type="http://schemas.openxmlformats.org/officeDocument/2006/relationships/slideLayout" Target="../slideLayouts/slideLayout267.xml"/><Relationship Id="rId272" Type="http://schemas.openxmlformats.org/officeDocument/2006/relationships/slideLayout" Target="../slideLayouts/slideLayout472.xml"/><Relationship Id="rId328" Type="http://schemas.openxmlformats.org/officeDocument/2006/relationships/slideLayout" Target="../slideLayouts/slideLayout528.xml"/><Relationship Id="rId535" Type="http://schemas.openxmlformats.org/officeDocument/2006/relationships/slideLayout" Target="../slideLayouts/slideLayout735.xml"/><Relationship Id="rId132" Type="http://schemas.openxmlformats.org/officeDocument/2006/relationships/slideLayout" Target="../slideLayouts/slideLayout332.xml"/><Relationship Id="rId174" Type="http://schemas.openxmlformats.org/officeDocument/2006/relationships/slideLayout" Target="../slideLayouts/slideLayout374.xml"/><Relationship Id="rId381" Type="http://schemas.openxmlformats.org/officeDocument/2006/relationships/slideLayout" Target="../slideLayouts/slideLayout581.xml"/><Relationship Id="rId241" Type="http://schemas.openxmlformats.org/officeDocument/2006/relationships/slideLayout" Target="../slideLayouts/slideLayout441.xml"/><Relationship Id="rId437" Type="http://schemas.openxmlformats.org/officeDocument/2006/relationships/slideLayout" Target="../slideLayouts/slideLayout637.xml"/><Relationship Id="rId479" Type="http://schemas.openxmlformats.org/officeDocument/2006/relationships/slideLayout" Target="../slideLayouts/slideLayout679.xml"/><Relationship Id="rId36" Type="http://schemas.openxmlformats.org/officeDocument/2006/relationships/slideLayout" Target="../slideLayouts/slideLayout236.xml"/><Relationship Id="rId283" Type="http://schemas.openxmlformats.org/officeDocument/2006/relationships/slideLayout" Target="../slideLayouts/slideLayout483.xml"/><Relationship Id="rId339" Type="http://schemas.openxmlformats.org/officeDocument/2006/relationships/slideLayout" Target="../slideLayouts/slideLayout539.xml"/><Relationship Id="rId490" Type="http://schemas.openxmlformats.org/officeDocument/2006/relationships/slideLayout" Target="../slideLayouts/slideLayout690.xml"/><Relationship Id="rId504" Type="http://schemas.openxmlformats.org/officeDocument/2006/relationships/slideLayout" Target="../slideLayouts/slideLayout704.xml"/><Relationship Id="rId78" Type="http://schemas.openxmlformats.org/officeDocument/2006/relationships/slideLayout" Target="../slideLayouts/slideLayout278.xml"/><Relationship Id="rId101" Type="http://schemas.openxmlformats.org/officeDocument/2006/relationships/slideLayout" Target="../slideLayouts/slideLayout301.xml"/><Relationship Id="rId143" Type="http://schemas.openxmlformats.org/officeDocument/2006/relationships/slideLayout" Target="../slideLayouts/slideLayout343.xml"/><Relationship Id="rId185" Type="http://schemas.openxmlformats.org/officeDocument/2006/relationships/slideLayout" Target="../slideLayouts/slideLayout385.xml"/><Relationship Id="rId350" Type="http://schemas.openxmlformats.org/officeDocument/2006/relationships/slideLayout" Target="../slideLayouts/slideLayout550.xml"/><Relationship Id="rId406" Type="http://schemas.openxmlformats.org/officeDocument/2006/relationships/slideLayout" Target="../slideLayouts/slideLayout606.xml"/><Relationship Id="rId9" Type="http://schemas.openxmlformats.org/officeDocument/2006/relationships/slideLayout" Target="../slideLayouts/slideLayout209.xml"/><Relationship Id="rId210" Type="http://schemas.openxmlformats.org/officeDocument/2006/relationships/slideLayout" Target="../slideLayouts/slideLayout410.xml"/><Relationship Id="rId392" Type="http://schemas.openxmlformats.org/officeDocument/2006/relationships/slideLayout" Target="../slideLayouts/slideLayout592.xml"/><Relationship Id="rId448" Type="http://schemas.openxmlformats.org/officeDocument/2006/relationships/slideLayout" Target="../slideLayouts/slideLayout648.xml"/><Relationship Id="rId252" Type="http://schemas.openxmlformats.org/officeDocument/2006/relationships/slideLayout" Target="../slideLayouts/slideLayout452.xml"/><Relationship Id="rId294" Type="http://schemas.openxmlformats.org/officeDocument/2006/relationships/slideLayout" Target="../slideLayouts/slideLayout494.xml"/><Relationship Id="rId308" Type="http://schemas.openxmlformats.org/officeDocument/2006/relationships/slideLayout" Target="../slideLayouts/slideLayout508.xml"/><Relationship Id="rId515" Type="http://schemas.openxmlformats.org/officeDocument/2006/relationships/slideLayout" Target="../slideLayouts/slideLayout715.xml"/><Relationship Id="rId47" Type="http://schemas.openxmlformats.org/officeDocument/2006/relationships/slideLayout" Target="../slideLayouts/slideLayout247.xml"/><Relationship Id="rId89" Type="http://schemas.openxmlformats.org/officeDocument/2006/relationships/slideLayout" Target="../slideLayouts/slideLayout289.xml"/><Relationship Id="rId112" Type="http://schemas.openxmlformats.org/officeDocument/2006/relationships/slideLayout" Target="../slideLayouts/slideLayout312.xml"/><Relationship Id="rId154" Type="http://schemas.openxmlformats.org/officeDocument/2006/relationships/slideLayout" Target="../slideLayouts/slideLayout354.xml"/><Relationship Id="rId361" Type="http://schemas.openxmlformats.org/officeDocument/2006/relationships/slideLayout" Target="../slideLayouts/slideLayout561.xml"/><Relationship Id="rId196" Type="http://schemas.openxmlformats.org/officeDocument/2006/relationships/slideLayout" Target="../slideLayouts/slideLayout396.xml"/><Relationship Id="rId417" Type="http://schemas.openxmlformats.org/officeDocument/2006/relationships/slideLayout" Target="../slideLayouts/slideLayout617.xml"/><Relationship Id="rId459" Type="http://schemas.openxmlformats.org/officeDocument/2006/relationships/slideLayout" Target="../slideLayouts/slideLayout659.xml"/><Relationship Id="rId16" Type="http://schemas.openxmlformats.org/officeDocument/2006/relationships/slideLayout" Target="../slideLayouts/slideLayout216.xml"/><Relationship Id="rId221" Type="http://schemas.openxmlformats.org/officeDocument/2006/relationships/slideLayout" Target="../slideLayouts/slideLayout421.xml"/><Relationship Id="rId263" Type="http://schemas.openxmlformats.org/officeDocument/2006/relationships/slideLayout" Target="../slideLayouts/slideLayout463.xml"/><Relationship Id="rId319" Type="http://schemas.openxmlformats.org/officeDocument/2006/relationships/slideLayout" Target="../slideLayouts/slideLayout519.xml"/><Relationship Id="rId470" Type="http://schemas.openxmlformats.org/officeDocument/2006/relationships/slideLayout" Target="../slideLayouts/slideLayout670.xml"/><Relationship Id="rId526" Type="http://schemas.openxmlformats.org/officeDocument/2006/relationships/slideLayout" Target="../slideLayouts/slideLayout726.xml"/><Relationship Id="rId58" Type="http://schemas.openxmlformats.org/officeDocument/2006/relationships/slideLayout" Target="../slideLayouts/slideLayout258.xml"/><Relationship Id="rId123" Type="http://schemas.openxmlformats.org/officeDocument/2006/relationships/slideLayout" Target="../slideLayouts/slideLayout323.xml"/><Relationship Id="rId330" Type="http://schemas.openxmlformats.org/officeDocument/2006/relationships/slideLayout" Target="../slideLayouts/slideLayout530.xml"/><Relationship Id="rId165" Type="http://schemas.openxmlformats.org/officeDocument/2006/relationships/slideLayout" Target="../slideLayouts/slideLayout365.xml"/><Relationship Id="rId372" Type="http://schemas.openxmlformats.org/officeDocument/2006/relationships/slideLayout" Target="../slideLayouts/slideLayout572.xml"/><Relationship Id="rId428" Type="http://schemas.openxmlformats.org/officeDocument/2006/relationships/slideLayout" Target="../slideLayouts/slideLayout628.xml"/><Relationship Id="rId232" Type="http://schemas.openxmlformats.org/officeDocument/2006/relationships/slideLayout" Target="../slideLayouts/slideLayout432.xml"/><Relationship Id="rId274" Type="http://schemas.openxmlformats.org/officeDocument/2006/relationships/slideLayout" Target="../slideLayouts/slideLayout474.xml"/><Relationship Id="rId481" Type="http://schemas.openxmlformats.org/officeDocument/2006/relationships/slideLayout" Target="../slideLayouts/slideLayout681.xml"/><Relationship Id="rId27" Type="http://schemas.openxmlformats.org/officeDocument/2006/relationships/slideLayout" Target="../slideLayouts/slideLayout227.xml"/><Relationship Id="rId69" Type="http://schemas.openxmlformats.org/officeDocument/2006/relationships/slideLayout" Target="../slideLayouts/slideLayout269.xml"/><Relationship Id="rId134" Type="http://schemas.openxmlformats.org/officeDocument/2006/relationships/slideLayout" Target="../slideLayouts/slideLayout334.xml"/><Relationship Id="rId537" Type="http://schemas.openxmlformats.org/officeDocument/2006/relationships/slideLayout" Target="../slideLayouts/slideLayout737.xml"/><Relationship Id="rId80" Type="http://schemas.openxmlformats.org/officeDocument/2006/relationships/slideLayout" Target="../slideLayouts/slideLayout280.xml"/><Relationship Id="rId176" Type="http://schemas.openxmlformats.org/officeDocument/2006/relationships/slideLayout" Target="../slideLayouts/slideLayout376.xml"/><Relationship Id="rId341" Type="http://schemas.openxmlformats.org/officeDocument/2006/relationships/slideLayout" Target="../slideLayouts/slideLayout541.xml"/><Relationship Id="rId383" Type="http://schemas.openxmlformats.org/officeDocument/2006/relationships/slideLayout" Target="../slideLayouts/slideLayout583.xml"/><Relationship Id="rId439" Type="http://schemas.openxmlformats.org/officeDocument/2006/relationships/slideLayout" Target="../slideLayouts/slideLayout639.xml"/><Relationship Id="rId201" Type="http://schemas.openxmlformats.org/officeDocument/2006/relationships/slideLayout" Target="../slideLayouts/slideLayout401.xml"/><Relationship Id="rId243" Type="http://schemas.openxmlformats.org/officeDocument/2006/relationships/slideLayout" Target="../slideLayouts/slideLayout443.xml"/><Relationship Id="rId285" Type="http://schemas.openxmlformats.org/officeDocument/2006/relationships/slideLayout" Target="../slideLayouts/slideLayout485.xml"/><Relationship Id="rId450" Type="http://schemas.openxmlformats.org/officeDocument/2006/relationships/slideLayout" Target="../slideLayouts/slideLayout650.xml"/><Relationship Id="rId506" Type="http://schemas.openxmlformats.org/officeDocument/2006/relationships/slideLayout" Target="../slideLayouts/slideLayout706.xml"/><Relationship Id="rId38" Type="http://schemas.openxmlformats.org/officeDocument/2006/relationships/slideLayout" Target="../slideLayouts/slideLayout238.xml"/><Relationship Id="rId103" Type="http://schemas.openxmlformats.org/officeDocument/2006/relationships/slideLayout" Target="../slideLayouts/slideLayout303.xml"/><Relationship Id="rId310" Type="http://schemas.openxmlformats.org/officeDocument/2006/relationships/slideLayout" Target="../slideLayouts/slideLayout510.xml"/><Relationship Id="rId492" Type="http://schemas.openxmlformats.org/officeDocument/2006/relationships/slideLayout" Target="../slideLayouts/slideLayout692.xml"/><Relationship Id="rId91" Type="http://schemas.openxmlformats.org/officeDocument/2006/relationships/slideLayout" Target="../slideLayouts/slideLayout291.xml"/><Relationship Id="rId145" Type="http://schemas.openxmlformats.org/officeDocument/2006/relationships/slideLayout" Target="../slideLayouts/slideLayout345.xml"/><Relationship Id="rId187" Type="http://schemas.openxmlformats.org/officeDocument/2006/relationships/slideLayout" Target="../slideLayouts/slideLayout387.xml"/><Relationship Id="rId352" Type="http://schemas.openxmlformats.org/officeDocument/2006/relationships/slideLayout" Target="../slideLayouts/slideLayout552.xml"/><Relationship Id="rId394" Type="http://schemas.openxmlformats.org/officeDocument/2006/relationships/slideLayout" Target="../slideLayouts/slideLayout594.xml"/><Relationship Id="rId408" Type="http://schemas.openxmlformats.org/officeDocument/2006/relationships/slideLayout" Target="../slideLayouts/slideLayout608.xml"/><Relationship Id="rId212" Type="http://schemas.openxmlformats.org/officeDocument/2006/relationships/slideLayout" Target="../slideLayouts/slideLayout412.xml"/><Relationship Id="rId254" Type="http://schemas.openxmlformats.org/officeDocument/2006/relationships/slideLayout" Target="../slideLayouts/slideLayout454.xml"/><Relationship Id="rId49" Type="http://schemas.openxmlformats.org/officeDocument/2006/relationships/slideLayout" Target="../slideLayouts/slideLayout249.xml"/><Relationship Id="rId114" Type="http://schemas.openxmlformats.org/officeDocument/2006/relationships/slideLayout" Target="../slideLayouts/slideLayout314.xml"/><Relationship Id="rId296" Type="http://schemas.openxmlformats.org/officeDocument/2006/relationships/slideLayout" Target="../slideLayouts/slideLayout496.xml"/><Relationship Id="rId461" Type="http://schemas.openxmlformats.org/officeDocument/2006/relationships/slideLayout" Target="../slideLayouts/slideLayout661.xml"/><Relationship Id="rId517" Type="http://schemas.openxmlformats.org/officeDocument/2006/relationships/slideLayout" Target="../slideLayouts/slideLayout717.xml"/><Relationship Id="rId60" Type="http://schemas.openxmlformats.org/officeDocument/2006/relationships/slideLayout" Target="../slideLayouts/slideLayout260.xml"/><Relationship Id="rId156" Type="http://schemas.openxmlformats.org/officeDocument/2006/relationships/slideLayout" Target="../slideLayouts/slideLayout356.xml"/><Relationship Id="rId198" Type="http://schemas.openxmlformats.org/officeDocument/2006/relationships/slideLayout" Target="../slideLayouts/slideLayout398.xml"/><Relationship Id="rId321" Type="http://schemas.openxmlformats.org/officeDocument/2006/relationships/slideLayout" Target="../slideLayouts/slideLayout521.xml"/><Relationship Id="rId363" Type="http://schemas.openxmlformats.org/officeDocument/2006/relationships/slideLayout" Target="../slideLayouts/slideLayout563.xml"/><Relationship Id="rId419" Type="http://schemas.openxmlformats.org/officeDocument/2006/relationships/slideLayout" Target="../slideLayouts/slideLayout619.xml"/><Relationship Id="rId223" Type="http://schemas.openxmlformats.org/officeDocument/2006/relationships/slideLayout" Target="../slideLayouts/slideLayout423.xml"/><Relationship Id="rId430" Type="http://schemas.openxmlformats.org/officeDocument/2006/relationships/slideLayout" Target="../slideLayouts/slideLayout630.xml"/><Relationship Id="rId18" Type="http://schemas.openxmlformats.org/officeDocument/2006/relationships/slideLayout" Target="../slideLayouts/slideLayout218.xml"/><Relationship Id="rId265" Type="http://schemas.openxmlformats.org/officeDocument/2006/relationships/slideLayout" Target="../slideLayouts/slideLayout465.xml"/><Relationship Id="rId472" Type="http://schemas.openxmlformats.org/officeDocument/2006/relationships/slideLayout" Target="../slideLayouts/slideLayout672.xml"/><Relationship Id="rId528" Type="http://schemas.openxmlformats.org/officeDocument/2006/relationships/slideLayout" Target="../slideLayouts/slideLayout728.xml"/><Relationship Id="rId125" Type="http://schemas.openxmlformats.org/officeDocument/2006/relationships/slideLayout" Target="../slideLayouts/slideLayout325.xml"/><Relationship Id="rId167" Type="http://schemas.openxmlformats.org/officeDocument/2006/relationships/slideLayout" Target="../slideLayouts/slideLayout367.xml"/><Relationship Id="rId332" Type="http://schemas.openxmlformats.org/officeDocument/2006/relationships/slideLayout" Target="../slideLayouts/slideLayout532.xml"/><Relationship Id="rId374" Type="http://schemas.openxmlformats.org/officeDocument/2006/relationships/slideLayout" Target="../slideLayouts/slideLayout574.xml"/><Relationship Id="rId71" Type="http://schemas.openxmlformats.org/officeDocument/2006/relationships/slideLayout" Target="../slideLayouts/slideLayout271.xml"/><Relationship Id="rId234" Type="http://schemas.openxmlformats.org/officeDocument/2006/relationships/slideLayout" Target="../slideLayouts/slideLayout434.xml"/><Relationship Id="rId2" Type="http://schemas.openxmlformats.org/officeDocument/2006/relationships/slideLayout" Target="../slideLayouts/slideLayout202.xml"/><Relationship Id="rId29" Type="http://schemas.openxmlformats.org/officeDocument/2006/relationships/slideLayout" Target="../slideLayouts/slideLayout229.xml"/><Relationship Id="rId276" Type="http://schemas.openxmlformats.org/officeDocument/2006/relationships/slideLayout" Target="../slideLayouts/slideLayout476.xml"/><Relationship Id="rId441" Type="http://schemas.openxmlformats.org/officeDocument/2006/relationships/slideLayout" Target="../slideLayouts/slideLayout641.xml"/><Relationship Id="rId483" Type="http://schemas.openxmlformats.org/officeDocument/2006/relationships/slideLayout" Target="../slideLayouts/slideLayout683.xml"/><Relationship Id="rId539" Type="http://schemas.openxmlformats.org/officeDocument/2006/relationships/theme" Target="../theme/theme2.xml"/><Relationship Id="rId40" Type="http://schemas.openxmlformats.org/officeDocument/2006/relationships/slideLayout" Target="../slideLayouts/slideLayout240.xml"/><Relationship Id="rId136" Type="http://schemas.openxmlformats.org/officeDocument/2006/relationships/slideLayout" Target="../slideLayouts/slideLayout336.xml"/><Relationship Id="rId178" Type="http://schemas.openxmlformats.org/officeDocument/2006/relationships/slideLayout" Target="../slideLayouts/slideLayout378.xml"/><Relationship Id="rId301" Type="http://schemas.openxmlformats.org/officeDocument/2006/relationships/slideLayout" Target="../slideLayouts/slideLayout501.xml"/><Relationship Id="rId343" Type="http://schemas.openxmlformats.org/officeDocument/2006/relationships/slideLayout" Target="../slideLayouts/slideLayout543.xml"/><Relationship Id="rId82" Type="http://schemas.openxmlformats.org/officeDocument/2006/relationships/slideLayout" Target="../slideLayouts/slideLayout282.xml"/><Relationship Id="rId203" Type="http://schemas.openxmlformats.org/officeDocument/2006/relationships/slideLayout" Target="../slideLayouts/slideLayout403.xml"/><Relationship Id="rId385" Type="http://schemas.openxmlformats.org/officeDocument/2006/relationships/slideLayout" Target="../slideLayouts/slideLayout585.xml"/><Relationship Id="rId245" Type="http://schemas.openxmlformats.org/officeDocument/2006/relationships/slideLayout" Target="../slideLayouts/slideLayout445.xml"/><Relationship Id="rId287" Type="http://schemas.openxmlformats.org/officeDocument/2006/relationships/slideLayout" Target="../slideLayouts/slideLayout487.xml"/><Relationship Id="rId410" Type="http://schemas.openxmlformats.org/officeDocument/2006/relationships/slideLayout" Target="../slideLayouts/slideLayout610.xml"/><Relationship Id="rId452" Type="http://schemas.openxmlformats.org/officeDocument/2006/relationships/slideLayout" Target="../slideLayouts/slideLayout652.xml"/><Relationship Id="rId494" Type="http://schemas.openxmlformats.org/officeDocument/2006/relationships/slideLayout" Target="../slideLayouts/slideLayout694.xml"/><Relationship Id="rId508" Type="http://schemas.openxmlformats.org/officeDocument/2006/relationships/slideLayout" Target="../slideLayouts/slideLayout708.xml"/><Relationship Id="rId105" Type="http://schemas.openxmlformats.org/officeDocument/2006/relationships/slideLayout" Target="../slideLayouts/slideLayout305.xml"/><Relationship Id="rId147" Type="http://schemas.openxmlformats.org/officeDocument/2006/relationships/slideLayout" Target="../slideLayouts/slideLayout347.xml"/><Relationship Id="rId312" Type="http://schemas.openxmlformats.org/officeDocument/2006/relationships/slideLayout" Target="../slideLayouts/slideLayout512.xml"/><Relationship Id="rId354" Type="http://schemas.openxmlformats.org/officeDocument/2006/relationships/slideLayout" Target="../slideLayouts/slideLayout554.xml"/><Relationship Id="rId51" Type="http://schemas.openxmlformats.org/officeDocument/2006/relationships/slideLayout" Target="../slideLayouts/slideLayout251.xml"/><Relationship Id="rId93" Type="http://schemas.openxmlformats.org/officeDocument/2006/relationships/slideLayout" Target="../slideLayouts/slideLayout293.xml"/><Relationship Id="rId189" Type="http://schemas.openxmlformats.org/officeDocument/2006/relationships/slideLayout" Target="../slideLayouts/slideLayout389.xml"/><Relationship Id="rId396" Type="http://schemas.openxmlformats.org/officeDocument/2006/relationships/slideLayout" Target="../slideLayouts/slideLayout596.xml"/><Relationship Id="rId214" Type="http://schemas.openxmlformats.org/officeDocument/2006/relationships/slideLayout" Target="../slideLayouts/slideLayout414.xml"/><Relationship Id="rId256" Type="http://schemas.openxmlformats.org/officeDocument/2006/relationships/slideLayout" Target="../slideLayouts/slideLayout456.xml"/><Relationship Id="rId298" Type="http://schemas.openxmlformats.org/officeDocument/2006/relationships/slideLayout" Target="../slideLayouts/slideLayout498.xml"/><Relationship Id="rId421" Type="http://schemas.openxmlformats.org/officeDocument/2006/relationships/slideLayout" Target="../slideLayouts/slideLayout621.xml"/><Relationship Id="rId463" Type="http://schemas.openxmlformats.org/officeDocument/2006/relationships/slideLayout" Target="../slideLayouts/slideLayout663.xml"/><Relationship Id="rId519" Type="http://schemas.openxmlformats.org/officeDocument/2006/relationships/slideLayout" Target="../slideLayouts/slideLayout719.xml"/><Relationship Id="rId116" Type="http://schemas.openxmlformats.org/officeDocument/2006/relationships/slideLayout" Target="../slideLayouts/slideLayout316.xml"/><Relationship Id="rId158" Type="http://schemas.openxmlformats.org/officeDocument/2006/relationships/slideLayout" Target="../slideLayouts/slideLayout358.xml"/><Relationship Id="rId323" Type="http://schemas.openxmlformats.org/officeDocument/2006/relationships/slideLayout" Target="../slideLayouts/slideLayout523.xml"/><Relationship Id="rId530" Type="http://schemas.openxmlformats.org/officeDocument/2006/relationships/slideLayout" Target="../slideLayouts/slideLayout730.xml"/><Relationship Id="rId20" Type="http://schemas.openxmlformats.org/officeDocument/2006/relationships/slideLayout" Target="../slideLayouts/slideLayout220.xml"/><Relationship Id="rId62" Type="http://schemas.openxmlformats.org/officeDocument/2006/relationships/slideLayout" Target="../slideLayouts/slideLayout262.xml"/><Relationship Id="rId365" Type="http://schemas.openxmlformats.org/officeDocument/2006/relationships/slideLayout" Target="../slideLayouts/slideLayout565.xml"/><Relationship Id="rId225" Type="http://schemas.openxmlformats.org/officeDocument/2006/relationships/slideLayout" Target="../slideLayouts/slideLayout425.xml"/><Relationship Id="rId267" Type="http://schemas.openxmlformats.org/officeDocument/2006/relationships/slideLayout" Target="../slideLayouts/slideLayout467.xml"/><Relationship Id="rId432" Type="http://schemas.openxmlformats.org/officeDocument/2006/relationships/slideLayout" Target="../slideLayouts/slideLayout632.xml"/><Relationship Id="rId474" Type="http://schemas.openxmlformats.org/officeDocument/2006/relationships/slideLayout" Target="../slideLayouts/slideLayout674.xml"/><Relationship Id="rId127" Type="http://schemas.openxmlformats.org/officeDocument/2006/relationships/slideLayout" Target="../slideLayouts/slideLayout327.xml"/><Relationship Id="rId31" Type="http://schemas.openxmlformats.org/officeDocument/2006/relationships/slideLayout" Target="../slideLayouts/slideLayout231.xml"/><Relationship Id="rId73" Type="http://schemas.openxmlformats.org/officeDocument/2006/relationships/slideLayout" Target="../slideLayouts/slideLayout273.xml"/><Relationship Id="rId169" Type="http://schemas.openxmlformats.org/officeDocument/2006/relationships/slideLayout" Target="../slideLayouts/slideLayout369.xml"/><Relationship Id="rId334" Type="http://schemas.openxmlformats.org/officeDocument/2006/relationships/slideLayout" Target="../slideLayouts/slideLayout534.xml"/><Relationship Id="rId376" Type="http://schemas.openxmlformats.org/officeDocument/2006/relationships/slideLayout" Target="../slideLayouts/slideLayout576.xml"/><Relationship Id="rId4" Type="http://schemas.openxmlformats.org/officeDocument/2006/relationships/slideLayout" Target="../slideLayouts/slideLayout204.xml"/><Relationship Id="rId180" Type="http://schemas.openxmlformats.org/officeDocument/2006/relationships/slideLayout" Target="../slideLayouts/slideLayout380.xml"/><Relationship Id="rId236" Type="http://schemas.openxmlformats.org/officeDocument/2006/relationships/slideLayout" Target="../slideLayouts/slideLayout436.xml"/><Relationship Id="rId278" Type="http://schemas.openxmlformats.org/officeDocument/2006/relationships/slideLayout" Target="../slideLayouts/slideLayout478.xml"/><Relationship Id="rId401" Type="http://schemas.openxmlformats.org/officeDocument/2006/relationships/slideLayout" Target="../slideLayouts/slideLayout601.xml"/><Relationship Id="rId443" Type="http://schemas.openxmlformats.org/officeDocument/2006/relationships/slideLayout" Target="../slideLayouts/slideLayout643.xml"/><Relationship Id="rId303" Type="http://schemas.openxmlformats.org/officeDocument/2006/relationships/slideLayout" Target="../slideLayouts/slideLayout503.xml"/><Relationship Id="rId485" Type="http://schemas.openxmlformats.org/officeDocument/2006/relationships/slideLayout" Target="../slideLayouts/slideLayout685.xml"/><Relationship Id="rId42" Type="http://schemas.openxmlformats.org/officeDocument/2006/relationships/slideLayout" Target="../slideLayouts/slideLayout242.xml"/><Relationship Id="rId84" Type="http://schemas.openxmlformats.org/officeDocument/2006/relationships/slideLayout" Target="../slideLayouts/slideLayout284.xml"/><Relationship Id="rId138" Type="http://schemas.openxmlformats.org/officeDocument/2006/relationships/slideLayout" Target="../slideLayouts/slideLayout338.xml"/><Relationship Id="rId345" Type="http://schemas.openxmlformats.org/officeDocument/2006/relationships/slideLayout" Target="../slideLayouts/slideLayout545.xml"/><Relationship Id="rId387" Type="http://schemas.openxmlformats.org/officeDocument/2006/relationships/slideLayout" Target="../slideLayouts/slideLayout587.xml"/><Relationship Id="rId510" Type="http://schemas.openxmlformats.org/officeDocument/2006/relationships/slideLayout" Target="../slideLayouts/slideLayout710.xml"/><Relationship Id="rId191" Type="http://schemas.openxmlformats.org/officeDocument/2006/relationships/slideLayout" Target="../slideLayouts/slideLayout391.xml"/><Relationship Id="rId205" Type="http://schemas.openxmlformats.org/officeDocument/2006/relationships/slideLayout" Target="../slideLayouts/slideLayout405.xml"/><Relationship Id="rId247" Type="http://schemas.openxmlformats.org/officeDocument/2006/relationships/slideLayout" Target="../slideLayouts/slideLayout447.xml"/><Relationship Id="rId412" Type="http://schemas.openxmlformats.org/officeDocument/2006/relationships/slideLayout" Target="../slideLayouts/slideLayout612.xml"/><Relationship Id="rId107" Type="http://schemas.openxmlformats.org/officeDocument/2006/relationships/slideLayout" Target="../slideLayouts/slideLayout307.xml"/><Relationship Id="rId289" Type="http://schemas.openxmlformats.org/officeDocument/2006/relationships/slideLayout" Target="../slideLayouts/slideLayout489.xml"/><Relationship Id="rId454" Type="http://schemas.openxmlformats.org/officeDocument/2006/relationships/slideLayout" Target="../slideLayouts/slideLayout654.xml"/><Relationship Id="rId496" Type="http://schemas.openxmlformats.org/officeDocument/2006/relationships/slideLayout" Target="../slideLayouts/slideLayout696.xml"/><Relationship Id="rId11" Type="http://schemas.openxmlformats.org/officeDocument/2006/relationships/slideLayout" Target="../slideLayouts/slideLayout211.xml"/><Relationship Id="rId53" Type="http://schemas.openxmlformats.org/officeDocument/2006/relationships/slideLayout" Target="../slideLayouts/slideLayout253.xml"/><Relationship Id="rId149" Type="http://schemas.openxmlformats.org/officeDocument/2006/relationships/slideLayout" Target="../slideLayouts/slideLayout349.xml"/><Relationship Id="rId314" Type="http://schemas.openxmlformats.org/officeDocument/2006/relationships/slideLayout" Target="../slideLayouts/slideLayout514.xml"/><Relationship Id="rId356" Type="http://schemas.openxmlformats.org/officeDocument/2006/relationships/slideLayout" Target="../slideLayouts/slideLayout556.xml"/><Relationship Id="rId398" Type="http://schemas.openxmlformats.org/officeDocument/2006/relationships/slideLayout" Target="../slideLayouts/slideLayout598.xml"/><Relationship Id="rId521" Type="http://schemas.openxmlformats.org/officeDocument/2006/relationships/slideLayout" Target="../slideLayouts/slideLayout721.xml"/><Relationship Id="rId95" Type="http://schemas.openxmlformats.org/officeDocument/2006/relationships/slideLayout" Target="../slideLayouts/slideLayout295.xml"/><Relationship Id="rId160" Type="http://schemas.openxmlformats.org/officeDocument/2006/relationships/slideLayout" Target="../slideLayouts/slideLayout360.xml"/><Relationship Id="rId216" Type="http://schemas.openxmlformats.org/officeDocument/2006/relationships/slideLayout" Target="../slideLayouts/slideLayout416.xml"/><Relationship Id="rId423" Type="http://schemas.openxmlformats.org/officeDocument/2006/relationships/slideLayout" Target="../slideLayouts/slideLayout623.xml"/><Relationship Id="rId258" Type="http://schemas.openxmlformats.org/officeDocument/2006/relationships/slideLayout" Target="../slideLayouts/slideLayout458.xml"/><Relationship Id="rId465" Type="http://schemas.openxmlformats.org/officeDocument/2006/relationships/slideLayout" Target="../slideLayouts/slideLayout665.xml"/><Relationship Id="rId22" Type="http://schemas.openxmlformats.org/officeDocument/2006/relationships/slideLayout" Target="../slideLayouts/slideLayout222.xml"/><Relationship Id="rId64" Type="http://schemas.openxmlformats.org/officeDocument/2006/relationships/slideLayout" Target="../slideLayouts/slideLayout264.xml"/><Relationship Id="rId118" Type="http://schemas.openxmlformats.org/officeDocument/2006/relationships/slideLayout" Target="../slideLayouts/slideLayout318.xml"/><Relationship Id="rId325" Type="http://schemas.openxmlformats.org/officeDocument/2006/relationships/slideLayout" Target="../slideLayouts/slideLayout525.xml"/><Relationship Id="rId367" Type="http://schemas.openxmlformats.org/officeDocument/2006/relationships/slideLayout" Target="../slideLayouts/slideLayout567.xml"/><Relationship Id="rId532" Type="http://schemas.openxmlformats.org/officeDocument/2006/relationships/slideLayout" Target="../slideLayouts/slideLayout732.xml"/><Relationship Id="rId171" Type="http://schemas.openxmlformats.org/officeDocument/2006/relationships/slideLayout" Target="../slideLayouts/slideLayout371.xml"/><Relationship Id="rId227" Type="http://schemas.openxmlformats.org/officeDocument/2006/relationships/slideLayout" Target="../slideLayouts/slideLayout427.xml"/><Relationship Id="rId269" Type="http://schemas.openxmlformats.org/officeDocument/2006/relationships/slideLayout" Target="../slideLayouts/slideLayout469.xml"/><Relationship Id="rId434" Type="http://schemas.openxmlformats.org/officeDocument/2006/relationships/slideLayout" Target="../slideLayouts/slideLayout634.xml"/><Relationship Id="rId476" Type="http://schemas.openxmlformats.org/officeDocument/2006/relationships/slideLayout" Target="../slideLayouts/slideLayout676.xml"/><Relationship Id="rId33" Type="http://schemas.openxmlformats.org/officeDocument/2006/relationships/slideLayout" Target="../slideLayouts/slideLayout233.xml"/><Relationship Id="rId129" Type="http://schemas.openxmlformats.org/officeDocument/2006/relationships/slideLayout" Target="../slideLayouts/slideLayout329.xml"/><Relationship Id="rId280" Type="http://schemas.openxmlformats.org/officeDocument/2006/relationships/slideLayout" Target="../slideLayouts/slideLayout480.xml"/><Relationship Id="rId336" Type="http://schemas.openxmlformats.org/officeDocument/2006/relationships/slideLayout" Target="../slideLayouts/slideLayout536.xml"/><Relationship Id="rId501" Type="http://schemas.openxmlformats.org/officeDocument/2006/relationships/slideLayout" Target="../slideLayouts/slideLayout701.xml"/><Relationship Id="rId75" Type="http://schemas.openxmlformats.org/officeDocument/2006/relationships/slideLayout" Target="../slideLayouts/slideLayout275.xml"/><Relationship Id="rId140" Type="http://schemas.openxmlformats.org/officeDocument/2006/relationships/slideLayout" Target="../slideLayouts/slideLayout340.xml"/><Relationship Id="rId182" Type="http://schemas.openxmlformats.org/officeDocument/2006/relationships/slideLayout" Target="../slideLayouts/slideLayout382.xml"/><Relationship Id="rId378" Type="http://schemas.openxmlformats.org/officeDocument/2006/relationships/slideLayout" Target="../slideLayouts/slideLayout578.xml"/><Relationship Id="rId403" Type="http://schemas.openxmlformats.org/officeDocument/2006/relationships/slideLayout" Target="../slideLayouts/slideLayout603.xml"/><Relationship Id="rId6" Type="http://schemas.openxmlformats.org/officeDocument/2006/relationships/slideLayout" Target="../slideLayouts/slideLayout206.xml"/><Relationship Id="rId238" Type="http://schemas.openxmlformats.org/officeDocument/2006/relationships/slideLayout" Target="../slideLayouts/slideLayout438.xml"/><Relationship Id="rId445" Type="http://schemas.openxmlformats.org/officeDocument/2006/relationships/slideLayout" Target="../slideLayouts/slideLayout645.xml"/><Relationship Id="rId487" Type="http://schemas.openxmlformats.org/officeDocument/2006/relationships/slideLayout" Target="../slideLayouts/slideLayout687.xml"/><Relationship Id="rId291" Type="http://schemas.openxmlformats.org/officeDocument/2006/relationships/slideLayout" Target="../slideLayouts/slideLayout491.xml"/><Relationship Id="rId305" Type="http://schemas.openxmlformats.org/officeDocument/2006/relationships/slideLayout" Target="../slideLayouts/slideLayout505.xml"/><Relationship Id="rId347" Type="http://schemas.openxmlformats.org/officeDocument/2006/relationships/slideLayout" Target="../slideLayouts/slideLayout547.xml"/><Relationship Id="rId512" Type="http://schemas.openxmlformats.org/officeDocument/2006/relationships/slideLayout" Target="../slideLayouts/slideLayout712.xml"/><Relationship Id="rId44" Type="http://schemas.openxmlformats.org/officeDocument/2006/relationships/slideLayout" Target="../slideLayouts/slideLayout244.xml"/><Relationship Id="rId86" Type="http://schemas.openxmlformats.org/officeDocument/2006/relationships/slideLayout" Target="../slideLayouts/slideLayout286.xml"/><Relationship Id="rId151" Type="http://schemas.openxmlformats.org/officeDocument/2006/relationships/slideLayout" Target="../slideLayouts/slideLayout351.xml"/><Relationship Id="rId389" Type="http://schemas.openxmlformats.org/officeDocument/2006/relationships/slideLayout" Target="../slideLayouts/slideLayout589.xml"/><Relationship Id="rId193" Type="http://schemas.openxmlformats.org/officeDocument/2006/relationships/slideLayout" Target="../slideLayouts/slideLayout393.xml"/><Relationship Id="rId207" Type="http://schemas.openxmlformats.org/officeDocument/2006/relationships/slideLayout" Target="../slideLayouts/slideLayout407.xml"/><Relationship Id="rId249" Type="http://schemas.openxmlformats.org/officeDocument/2006/relationships/slideLayout" Target="../slideLayouts/slideLayout449.xml"/><Relationship Id="rId414" Type="http://schemas.openxmlformats.org/officeDocument/2006/relationships/slideLayout" Target="../slideLayouts/slideLayout614.xml"/><Relationship Id="rId456" Type="http://schemas.openxmlformats.org/officeDocument/2006/relationships/slideLayout" Target="../slideLayouts/slideLayout656.xml"/><Relationship Id="rId498" Type="http://schemas.openxmlformats.org/officeDocument/2006/relationships/slideLayout" Target="../slideLayouts/slideLayout698.xml"/><Relationship Id="rId13" Type="http://schemas.openxmlformats.org/officeDocument/2006/relationships/slideLayout" Target="../slideLayouts/slideLayout213.xml"/><Relationship Id="rId109" Type="http://schemas.openxmlformats.org/officeDocument/2006/relationships/slideLayout" Target="../slideLayouts/slideLayout309.xml"/><Relationship Id="rId260" Type="http://schemas.openxmlformats.org/officeDocument/2006/relationships/slideLayout" Target="../slideLayouts/slideLayout460.xml"/><Relationship Id="rId316" Type="http://schemas.openxmlformats.org/officeDocument/2006/relationships/slideLayout" Target="../slideLayouts/slideLayout516.xml"/><Relationship Id="rId523" Type="http://schemas.openxmlformats.org/officeDocument/2006/relationships/slideLayout" Target="../slideLayouts/slideLayout723.xml"/><Relationship Id="rId55" Type="http://schemas.openxmlformats.org/officeDocument/2006/relationships/slideLayout" Target="../slideLayouts/slideLayout255.xml"/><Relationship Id="rId97" Type="http://schemas.openxmlformats.org/officeDocument/2006/relationships/slideLayout" Target="../slideLayouts/slideLayout297.xml"/><Relationship Id="rId120" Type="http://schemas.openxmlformats.org/officeDocument/2006/relationships/slideLayout" Target="../slideLayouts/slideLayout320.xml"/><Relationship Id="rId358" Type="http://schemas.openxmlformats.org/officeDocument/2006/relationships/slideLayout" Target="../slideLayouts/slideLayout558.xml"/><Relationship Id="rId162" Type="http://schemas.openxmlformats.org/officeDocument/2006/relationships/slideLayout" Target="../slideLayouts/slideLayout362.xml"/><Relationship Id="rId218" Type="http://schemas.openxmlformats.org/officeDocument/2006/relationships/slideLayout" Target="../slideLayouts/slideLayout418.xml"/><Relationship Id="rId425" Type="http://schemas.openxmlformats.org/officeDocument/2006/relationships/slideLayout" Target="../slideLayouts/slideLayout625.xml"/><Relationship Id="rId467" Type="http://schemas.openxmlformats.org/officeDocument/2006/relationships/slideLayout" Target="../slideLayouts/slideLayout667.xml"/><Relationship Id="rId271" Type="http://schemas.openxmlformats.org/officeDocument/2006/relationships/slideLayout" Target="../slideLayouts/slideLayout471.xml"/><Relationship Id="rId24" Type="http://schemas.openxmlformats.org/officeDocument/2006/relationships/slideLayout" Target="../slideLayouts/slideLayout224.xml"/><Relationship Id="rId66" Type="http://schemas.openxmlformats.org/officeDocument/2006/relationships/slideLayout" Target="../slideLayouts/slideLayout266.xml"/><Relationship Id="rId131" Type="http://schemas.openxmlformats.org/officeDocument/2006/relationships/slideLayout" Target="../slideLayouts/slideLayout331.xml"/><Relationship Id="rId327" Type="http://schemas.openxmlformats.org/officeDocument/2006/relationships/slideLayout" Target="../slideLayouts/slideLayout527.xml"/><Relationship Id="rId369" Type="http://schemas.openxmlformats.org/officeDocument/2006/relationships/slideLayout" Target="../slideLayouts/slideLayout569.xml"/><Relationship Id="rId534" Type="http://schemas.openxmlformats.org/officeDocument/2006/relationships/slideLayout" Target="../slideLayouts/slideLayout734.xml"/><Relationship Id="rId173" Type="http://schemas.openxmlformats.org/officeDocument/2006/relationships/slideLayout" Target="../slideLayouts/slideLayout373.xml"/><Relationship Id="rId229" Type="http://schemas.openxmlformats.org/officeDocument/2006/relationships/slideLayout" Target="../slideLayouts/slideLayout429.xml"/><Relationship Id="rId380" Type="http://schemas.openxmlformats.org/officeDocument/2006/relationships/slideLayout" Target="../slideLayouts/slideLayout580.xml"/><Relationship Id="rId436" Type="http://schemas.openxmlformats.org/officeDocument/2006/relationships/slideLayout" Target="../slideLayouts/slideLayout636.xml"/><Relationship Id="rId240" Type="http://schemas.openxmlformats.org/officeDocument/2006/relationships/slideLayout" Target="../slideLayouts/slideLayout440.xml"/><Relationship Id="rId478" Type="http://schemas.openxmlformats.org/officeDocument/2006/relationships/slideLayout" Target="../slideLayouts/slideLayout678.xml"/><Relationship Id="rId35" Type="http://schemas.openxmlformats.org/officeDocument/2006/relationships/slideLayout" Target="../slideLayouts/slideLayout235.xml"/><Relationship Id="rId77" Type="http://schemas.openxmlformats.org/officeDocument/2006/relationships/slideLayout" Target="../slideLayouts/slideLayout277.xml"/><Relationship Id="rId100" Type="http://schemas.openxmlformats.org/officeDocument/2006/relationships/slideLayout" Target="../slideLayouts/slideLayout300.xml"/><Relationship Id="rId282" Type="http://schemas.openxmlformats.org/officeDocument/2006/relationships/slideLayout" Target="../slideLayouts/slideLayout482.xml"/><Relationship Id="rId338" Type="http://schemas.openxmlformats.org/officeDocument/2006/relationships/slideLayout" Target="../slideLayouts/slideLayout538.xml"/><Relationship Id="rId503" Type="http://schemas.openxmlformats.org/officeDocument/2006/relationships/slideLayout" Target="../slideLayouts/slideLayout703.xml"/><Relationship Id="rId8" Type="http://schemas.openxmlformats.org/officeDocument/2006/relationships/slideLayout" Target="../slideLayouts/slideLayout208.xml"/><Relationship Id="rId142" Type="http://schemas.openxmlformats.org/officeDocument/2006/relationships/slideLayout" Target="../slideLayouts/slideLayout342.xml"/><Relationship Id="rId184" Type="http://schemas.openxmlformats.org/officeDocument/2006/relationships/slideLayout" Target="../slideLayouts/slideLayout384.xml"/><Relationship Id="rId391" Type="http://schemas.openxmlformats.org/officeDocument/2006/relationships/slideLayout" Target="../slideLayouts/slideLayout591.xml"/><Relationship Id="rId405" Type="http://schemas.openxmlformats.org/officeDocument/2006/relationships/slideLayout" Target="../slideLayouts/slideLayout605.xml"/><Relationship Id="rId447" Type="http://schemas.openxmlformats.org/officeDocument/2006/relationships/slideLayout" Target="../slideLayouts/slideLayout647.xml"/><Relationship Id="rId251" Type="http://schemas.openxmlformats.org/officeDocument/2006/relationships/slideLayout" Target="../slideLayouts/slideLayout451.xml"/><Relationship Id="rId489" Type="http://schemas.openxmlformats.org/officeDocument/2006/relationships/slideLayout" Target="../slideLayouts/slideLayout689.xml"/><Relationship Id="rId46" Type="http://schemas.openxmlformats.org/officeDocument/2006/relationships/slideLayout" Target="../slideLayouts/slideLayout246.xml"/><Relationship Id="rId293" Type="http://schemas.openxmlformats.org/officeDocument/2006/relationships/slideLayout" Target="../slideLayouts/slideLayout493.xml"/><Relationship Id="rId307" Type="http://schemas.openxmlformats.org/officeDocument/2006/relationships/slideLayout" Target="../slideLayouts/slideLayout507.xml"/><Relationship Id="rId349" Type="http://schemas.openxmlformats.org/officeDocument/2006/relationships/slideLayout" Target="../slideLayouts/slideLayout549.xml"/><Relationship Id="rId514" Type="http://schemas.openxmlformats.org/officeDocument/2006/relationships/slideLayout" Target="../slideLayouts/slideLayout714.xml"/><Relationship Id="rId88" Type="http://schemas.openxmlformats.org/officeDocument/2006/relationships/slideLayout" Target="../slideLayouts/slideLayout288.xml"/><Relationship Id="rId111" Type="http://schemas.openxmlformats.org/officeDocument/2006/relationships/slideLayout" Target="../slideLayouts/slideLayout311.xml"/><Relationship Id="rId153" Type="http://schemas.openxmlformats.org/officeDocument/2006/relationships/slideLayout" Target="../slideLayouts/slideLayout353.xml"/><Relationship Id="rId195" Type="http://schemas.openxmlformats.org/officeDocument/2006/relationships/slideLayout" Target="../slideLayouts/slideLayout395.xml"/><Relationship Id="rId209" Type="http://schemas.openxmlformats.org/officeDocument/2006/relationships/slideLayout" Target="../slideLayouts/slideLayout409.xml"/><Relationship Id="rId360" Type="http://schemas.openxmlformats.org/officeDocument/2006/relationships/slideLayout" Target="../slideLayouts/slideLayout560.xml"/><Relationship Id="rId416" Type="http://schemas.openxmlformats.org/officeDocument/2006/relationships/slideLayout" Target="../slideLayouts/slideLayout616.xml"/><Relationship Id="rId220" Type="http://schemas.openxmlformats.org/officeDocument/2006/relationships/slideLayout" Target="../slideLayouts/slideLayout420.xml"/><Relationship Id="rId458" Type="http://schemas.openxmlformats.org/officeDocument/2006/relationships/slideLayout" Target="../slideLayouts/slideLayout658.xml"/><Relationship Id="rId15" Type="http://schemas.openxmlformats.org/officeDocument/2006/relationships/slideLayout" Target="../slideLayouts/slideLayout215.xml"/><Relationship Id="rId57" Type="http://schemas.openxmlformats.org/officeDocument/2006/relationships/slideLayout" Target="../slideLayouts/slideLayout257.xml"/><Relationship Id="rId262" Type="http://schemas.openxmlformats.org/officeDocument/2006/relationships/slideLayout" Target="../slideLayouts/slideLayout462.xml"/><Relationship Id="rId318" Type="http://schemas.openxmlformats.org/officeDocument/2006/relationships/slideLayout" Target="../slideLayouts/slideLayout518.xml"/><Relationship Id="rId525" Type="http://schemas.openxmlformats.org/officeDocument/2006/relationships/slideLayout" Target="../slideLayouts/slideLayout725.xml"/><Relationship Id="rId99" Type="http://schemas.openxmlformats.org/officeDocument/2006/relationships/slideLayout" Target="../slideLayouts/slideLayout299.xml"/><Relationship Id="rId122" Type="http://schemas.openxmlformats.org/officeDocument/2006/relationships/slideLayout" Target="../slideLayouts/slideLayout322.xml"/><Relationship Id="rId164" Type="http://schemas.openxmlformats.org/officeDocument/2006/relationships/slideLayout" Target="../slideLayouts/slideLayout364.xml"/><Relationship Id="rId371" Type="http://schemas.openxmlformats.org/officeDocument/2006/relationships/slideLayout" Target="../slideLayouts/slideLayout571.xml"/><Relationship Id="rId427" Type="http://schemas.openxmlformats.org/officeDocument/2006/relationships/slideLayout" Target="../slideLayouts/slideLayout627.xml"/><Relationship Id="rId469" Type="http://schemas.openxmlformats.org/officeDocument/2006/relationships/slideLayout" Target="../slideLayouts/slideLayout669.xml"/><Relationship Id="rId26" Type="http://schemas.openxmlformats.org/officeDocument/2006/relationships/slideLayout" Target="../slideLayouts/slideLayout226.xml"/><Relationship Id="rId231" Type="http://schemas.openxmlformats.org/officeDocument/2006/relationships/slideLayout" Target="../slideLayouts/slideLayout431.xml"/><Relationship Id="rId273" Type="http://schemas.openxmlformats.org/officeDocument/2006/relationships/slideLayout" Target="../slideLayouts/slideLayout473.xml"/><Relationship Id="rId329" Type="http://schemas.openxmlformats.org/officeDocument/2006/relationships/slideLayout" Target="../slideLayouts/slideLayout529.xml"/><Relationship Id="rId480" Type="http://schemas.openxmlformats.org/officeDocument/2006/relationships/slideLayout" Target="../slideLayouts/slideLayout680.xml"/><Relationship Id="rId536" Type="http://schemas.openxmlformats.org/officeDocument/2006/relationships/slideLayout" Target="../slideLayouts/slideLayout736.xml"/><Relationship Id="rId68" Type="http://schemas.openxmlformats.org/officeDocument/2006/relationships/slideLayout" Target="../slideLayouts/slideLayout268.xml"/><Relationship Id="rId133" Type="http://schemas.openxmlformats.org/officeDocument/2006/relationships/slideLayout" Target="../slideLayouts/slideLayout333.xml"/><Relationship Id="rId175" Type="http://schemas.openxmlformats.org/officeDocument/2006/relationships/slideLayout" Target="../slideLayouts/slideLayout375.xml"/><Relationship Id="rId340" Type="http://schemas.openxmlformats.org/officeDocument/2006/relationships/slideLayout" Target="../slideLayouts/slideLayout540.xml"/><Relationship Id="rId200" Type="http://schemas.openxmlformats.org/officeDocument/2006/relationships/slideLayout" Target="../slideLayouts/slideLayout400.xml"/><Relationship Id="rId382" Type="http://schemas.openxmlformats.org/officeDocument/2006/relationships/slideLayout" Target="../slideLayouts/slideLayout582.xml"/><Relationship Id="rId438" Type="http://schemas.openxmlformats.org/officeDocument/2006/relationships/slideLayout" Target="../slideLayouts/slideLayout638.xml"/><Relationship Id="rId242" Type="http://schemas.openxmlformats.org/officeDocument/2006/relationships/slideLayout" Target="../slideLayouts/slideLayout442.xml"/><Relationship Id="rId284" Type="http://schemas.openxmlformats.org/officeDocument/2006/relationships/slideLayout" Target="../slideLayouts/slideLayout484.xml"/><Relationship Id="rId491" Type="http://schemas.openxmlformats.org/officeDocument/2006/relationships/slideLayout" Target="../slideLayouts/slideLayout691.xml"/><Relationship Id="rId505" Type="http://schemas.openxmlformats.org/officeDocument/2006/relationships/slideLayout" Target="../slideLayouts/slideLayout705.xml"/><Relationship Id="rId37" Type="http://schemas.openxmlformats.org/officeDocument/2006/relationships/slideLayout" Target="../slideLayouts/slideLayout237.xml"/><Relationship Id="rId79" Type="http://schemas.openxmlformats.org/officeDocument/2006/relationships/slideLayout" Target="../slideLayouts/slideLayout279.xml"/><Relationship Id="rId102" Type="http://schemas.openxmlformats.org/officeDocument/2006/relationships/slideLayout" Target="../slideLayouts/slideLayout302.xml"/><Relationship Id="rId144" Type="http://schemas.openxmlformats.org/officeDocument/2006/relationships/slideLayout" Target="../slideLayouts/slideLayout344.xml"/><Relationship Id="rId90" Type="http://schemas.openxmlformats.org/officeDocument/2006/relationships/slideLayout" Target="../slideLayouts/slideLayout290.xml"/><Relationship Id="rId186" Type="http://schemas.openxmlformats.org/officeDocument/2006/relationships/slideLayout" Target="../slideLayouts/slideLayout386.xml"/><Relationship Id="rId351" Type="http://schemas.openxmlformats.org/officeDocument/2006/relationships/slideLayout" Target="../slideLayouts/slideLayout551.xml"/><Relationship Id="rId393" Type="http://schemas.openxmlformats.org/officeDocument/2006/relationships/slideLayout" Target="../slideLayouts/slideLayout593.xml"/><Relationship Id="rId407" Type="http://schemas.openxmlformats.org/officeDocument/2006/relationships/slideLayout" Target="../slideLayouts/slideLayout607.xml"/><Relationship Id="rId449" Type="http://schemas.openxmlformats.org/officeDocument/2006/relationships/slideLayout" Target="../slideLayouts/slideLayout649.xml"/><Relationship Id="rId211" Type="http://schemas.openxmlformats.org/officeDocument/2006/relationships/slideLayout" Target="../slideLayouts/slideLayout411.xml"/><Relationship Id="rId253" Type="http://schemas.openxmlformats.org/officeDocument/2006/relationships/slideLayout" Target="../slideLayouts/slideLayout453.xml"/><Relationship Id="rId295" Type="http://schemas.openxmlformats.org/officeDocument/2006/relationships/slideLayout" Target="../slideLayouts/slideLayout495.xml"/><Relationship Id="rId309" Type="http://schemas.openxmlformats.org/officeDocument/2006/relationships/slideLayout" Target="../slideLayouts/slideLayout509.xml"/><Relationship Id="rId460" Type="http://schemas.openxmlformats.org/officeDocument/2006/relationships/slideLayout" Target="../slideLayouts/slideLayout660.xml"/><Relationship Id="rId516" Type="http://schemas.openxmlformats.org/officeDocument/2006/relationships/slideLayout" Target="../slideLayouts/slideLayout716.xml"/><Relationship Id="rId48" Type="http://schemas.openxmlformats.org/officeDocument/2006/relationships/slideLayout" Target="../slideLayouts/slideLayout248.xml"/><Relationship Id="rId113" Type="http://schemas.openxmlformats.org/officeDocument/2006/relationships/slideLayout" Target="../slideLayouts/slideLayout313.xml"/><Relationship Id="rId320" Type="http://schemas.openxmlformats.org/officeDocument/2006/relationships/slideLayout" Target="../slideLayouts/slideLayout520.xml"/><Relationship Id="rId155" Type="http://schemas.openxmlformats.org/officeDocument/2006/relationships/slideLayout" Target="../slideLayouts/slideLayout355.xml"/><Relationship Id="rId197" Type="http://schemas.openxmlformats.org/officeDocument/2006/relationships/slideLayout" Target="../slideLayouts/slideLayout397.xml"/><Relationship Id="rId362" Type="http://schemas.openxmlformats.org/officeDocument/2006/relationships/slideLayout" Target="../slideLayouts/slideLayout562.xml"/><Relationship Id="rId418" Type="http://schemas.openxmlformats.org/officeDocument/2006/relationships/slideLayout" Target="../slideLayouts/slideLayout618.xml"/><Relationship Id="rId222" Type="http://schemas.openxmlformats.org/officeDocument/2006/relationships/slideLayout" Target="../slideLayouts/slideLayout422.xml"/><Relationship Id="rId264" Type="http://schemas.openxmlformats.org/officeDocument/2006/relationships/slideLayout" Target="../slideLayouts/slideLayout464.xml"/><Relationship Id="rId471" Type="http://schemas.openxmlformats.org/officeDocument/2006/relationships/slideLayout" Target="../slideLayouts/slideLayout671.xml"/><Relationship Id="rId17" Type="http://schemas.openxmlformats.org/officeDocument/2006/relationships/slideLayout" Target="../slideLayouts/slideLayout217.xml"/><Relationship Id="rId59" Type="http://schemas.openxmlformats.org/officeDocument/2006/relationships/slideLayout" Target="../slideLayouts/slideLayout259.xml"/><Relationship Id="rId124" Type="http://schemas.openxmlformats.org/officeDocument/2006/relationships/slideLayout" Target="../slideLayouts/slideLayout324.xml"/><Relationship Id="rId527" Type="http://schemas.openxmlformats.org/officeDocument/2006/relationships/slideLayout" Target="../slideLayouts/slideLayout727.xml"/><Relationship Id="rId70" Type="http://schemas.openxmlformats.org/officeDocument/2006/relationships/slideLayout" Target="../slideLayouts/slideLayout270.xml"/><Relationship Id="rId166" Type="http://schemas.openxmlformats.org/officeDocument/2006/relationships/slideLayout" Target="../slideLayouts/slideLayout366.xml"/><Relationship Id="rId331" Type="http://schemas.openxmlformats.org/officeDocument/2006/relationships/slideLayout" Target="../slideLayouts/slideLayout531.xml"/><Relationship Id="rId373" Type="http://schemas.openxmlformats.org/officeDocument/2006/relationships/slideLayout" Target="../slideLayouts/slideLayout573.xml"/><Relationship Id="rId429" Type="http://schemas.openxmlformats.org/officeDocument/2006/relationships/slideLayout" Target="../slideLayouts/slideLayout629.xml"/><Relationship Id="rId1" Type="http://schemas.openxmlformats.org/officeDocument/2006/relationships/slideLayout" Target="../slideLayouts/slideLayout201.xml"/><Relationship Id="rId233" Type="http://schemas.openxmlformats.org/officeDocument/2006/relationships/slideLayout" Target="../slideLayouts/slideLayout433.xml"/><Relationship Id="rId440" Type="http://schemas.openxmlformats.org/officeDocument/2006/relationships/slideLayout" Target="../slideLayouts/slideLayout640.xml"/><Relationship Id="rId28" Type="http://schemas.openxmlformats.org/officeDocument/2006/relationships/slideLayout" Target="../slideLayouts/slideLayout228.xml"/><Relationship Id="rId275" Type="http://schemas.openxmlformats.org/officeDocument/2006/relationships/slideLayout" Target="../slideLayouts/slideLayout475.xml"/><Relationship Id="rId300" Type="http://schemas.openxmlformats.org/officeDocument/2006/relationships/slideLayout" Target="../slideLayouts/slideLayout500.xml"/><Relationship Id="rId482" Type="http://schemas.openxmlformats.org/officeDocument/2006/relationships/slideLayout" Target="../slideLayouts/slideLayout682.xml"/><Relationship Id="rId538" Type="http://schemas.openxmlformats.org/officeDocument/2006/relationships/slideLayout" Target="../slideLayouts/slideLayout738.xml"/><Relationship Id="rId81" Type="http://schemas.openxmlformats.org/officeDocument/2006/relationships/slideLayout" Target="../slideLayouts/slideLayout281.xml"/><Relationship Id="rId135" Type="http://schemas.openxmlformats.org/officeDocument/2006/relationships/slideLayout" Target="../slideLayouts/slideLayout335.xml"/><Relationship Id="rId177" Type="http://schemas.openxmlformats.org/officeDocument/2006/relationships/slideLayout" Target="../slideLayouts/slideLayout377.xml"/><Relationship Id="rId342" Type="http://schemas.openxmlformats.org/officeDocument/2006/relationships/slideLayout" Target="../slideLayouts/slideLayout542.xml"/><Relationship Id="rId384" Type="http://schemas.openxmlformats.org/officeDocument/2006/relationships/slideLayout" Target="../slideLayouts/slideLayout584.xml"/><Relationship Id="rId202" Type="http://schemas.openxmlformats.org/officeDocument/2006/relationships/slideLayout" Target="../slideLayouts/slideLayout402.xml"/><Relationship Id="rId244" Type="http://schemas.openxmlformats.org/officeDocument/2006/relationships/slideLayout" Target="../slideLayouts/slideLayout444.xml"/><Relationship Id="rId39" Type="http://schemas.openxmlformats.org/officeDocument/2006/relationships/slideLayout" Target="../slideLayouts/slideLayout239.xml"/><Relationship Id="rId286" Type="http://schemas.openxmlformats.org/officeDocument/2006/relationships/slideLayout" Target="../slideLayouts/slideLayout486.xml"/><Relationship Id="rId451" Type="http://schemas.openxmlformats.org/officeDocument/2006/relationships/slideLayout" Target="../slideLayouts/slideLayout651.xml"/><Relationship Id="rId493" Type="http://schemas.openxmlformats.org/officeDocument/2006/relationships/slideLayout" Target="../slideLayouts/slideLayout693.xml"/><Relationship Id="rId507" Type="http://schemas.openxmlformats.org/officeDocument/2006/relationships/slideLayout" Target="../slideLayouts/slideLayout707.xml"/><Relationship Id="rId50" Type="http://schemas.openxmlformats.org/officeDocument/2006/relationships/slideLayout" Target="../slideLayouts/slideLayout250.xml"/><Relationship Id="rId104" Type="http://schemas.openxmlformats.org/officeDocument/2006/relationships/slideLayout" Target="../slideLayouts/slideLayout304.xml"/><Relationship Id="rId146" Type="http://schemas.openxmlformats.org/officeDocument/2006/relationships/slideLayout" Target="../slideLayouts/slideLayout346.xml"/><Relationship Id="rId188" Type="http://schemas.openxmlformats.org/officeDocument/2006/relationships/slideLayout" Target="../slideLayouts/slideLayout388.xml"/><Relationship Id="rId311" Type="http://schemas.openxmlformats.org/officeDocument/2006/relationships/slideLayout" Target="../slideLayouts/slideLayout511.xml"/><Relationship Id="rId353" Type="http://schemas.openxmlformats.org/officeDocument/2006/relationships/slideLayout" Target="../slideLayouts/slideLayout553.xml"/><Relationship Id="rId395" Type="http://schemas.openxmlformats.org/officeDocument/2006/relationships/slideLayout" Target="../slideLayouts/slideLayout595.xml"/><Relationship Id="rId409" Type="http://schemas.openxmlformats.org/officeDocument/2006/relationships/slideLayout" Target="../slideLayouts/slideLayout609.xml"/><Relationship Id="rId92" Type="http://schemas.openxmlformats.org/officeDocument/2006/relationships/slideLayout" Target="../slideLayouts/slideLayout292.xml"/><Relationship Id="rId213" Type="http://schemas.openxmlformats.org/officeDocument/2006/relationships/slideLayout" Target="../slideLayouts/slideLayout413.xml"/><Relationship Id="rId420" Type="http://schemas.openxmlformats.org/officeDocument/2006/relationships/slideLayout" Target="../slideLayouts/slideLayout620.xml"/><Relationship Id="rId255" Type="http://schemas.openxmlformats.org/officeDocument/2006/relationships/slideLayout" Target="../slideLayouts/slideLayout455.xml"/><Relationship Id="rId297" Type="http://schemas.openxmlformats.org/officeDocument/2006/relationships/slideLayout" Target="../slideLayouts/slideLayout497.xml"/><Relationship Id="rId462" Type="http://schemas.openxmlformats.org/officeDocument/2006/relationships/slideLayout" Target="../slideLayouts/slideLayout662.xml"/><Relationship Id="rId518" Type="http://schemas.openxmlformats.org/officeDocument/2006/relationships/slideLayout" Target="../slideLayouts/slideLayout718.xml"/><Relationship Id="rId115" Type="http://schemas.openxmlformats.org/officeDocument/2006/relationships/slideLayout" Target="../slideLayouts/slideLayout315.xml"/><Relationship Id="rId157" Type="http://schemas.openxmlformats.org/officeDocument/2006/relationships/slideLayout" Target="../slideLayouts/slideLayout357.xml"/><Relationship Id="rId322" Type="http://schemas.openxmlformats.org/officeDocument/2006/relationships/slideLayout" Target="../slideLayouts/slideLayout522.xml"/><Relationship Id="rId364" Type="http://schemas.openxmlformats.org/officeDocument/2006/relationships/slideLayout" Target="../slideLayouts/slideLayout564.xml"/><Relationship Id="rId61" Type="http://schemas.openxmlformats.org/officeDocument/2006/relationships/slideLayout" Target="../slideLayouts/slideLayout261.xml"/><Relationship Id="rId199" Type="http://schemas.openxmlformats.org/officeDocument/2006/relationships/slideLayout" Target="../slideLayouts/slideLayout399.xml"/><Relationship Id="rId19" Type="http://schemas.openxmlformats.org/officeDocument/2006/relationships/slideLayout" Target="../slideLayouts/slideLayout219.xml"/><Relationship Id="rId224" Type="http://schemas.openxmlformats.org/officeDocument/2006/relationships/slideLayout" Target="../slideLayouts/slideLayout424.xml"/><Relationship Id="rId266" Type="http://schemas.openxmlformats.org/officeDocument/2006/relationships/slideLayout" Target="../slideLayouts/slideLayout466.xml"/><Relationship Id="rId431" Type="http://schemas.openxmlformats.org/officeDocument/2006/relationships/slideLayout" Target="../slideLayouts/slideLayout631.xml"/><Relationship Id="rId473" Type="http://schemas.openxmlformats.org/officeDocument/2006/relationships/slideLayout" Target="../slideLayouts/slideLayout673.xml"/><Relationship Id="rId529" Type="http://schemas.openxmlformats.org/officeDocument/2006/relationships/slideLayout" Target="../slideLayouts/slideLayout729.xml"/><Relationship Id="rId30" Type="http://schemas.openxmlformats.org/officeDocument/2006/relationships/slideLayout" Target="../slideLayouts/slideLayout230.xml"/><Relationship Id="rId126" Type="http://schemas.openxmlformats.org/officeDocument/2006/relationships/slideLayout" Target="../slideLayouts/slideLayout326.xml"/><Relationship Id="rId168" Type="http://schemas.openxmlformats.org/officeDocument/2006/relationships/slideLayout" Target="../slideLayouts/slideLayout368.xml"/><Relationship Id="rId333" Type="http://schemas.openxmlformats.org/officeDocument/2006/relationships/slideLayout" Target="../slideLayouts/slideLayout533.xml"/><Relationship Id="rId72" Type="http://schemas.openxmlformats.org/officeDocument/2006/relationships/slideLayout" Target="../slideLayouts/slideLayout272.xml"/><Relationship Id="rId375" Type="http://schemas.openxmlformats.org/officeDocument/2006/relationships/slideLayout" Target="../slideLayouts/slideLayout575.xml"/><Relationship Id="rId3" Type="http://schemas.openxmlformats.org/officeDocument/2006/relationships/slideLayout" Target="../slideLayouts/slideLayout203.xml"/><Relationship Id="rId235" Type="http://schemas.openxmlformats.org/officeDocument/2006/relationships/slideLayout" Target="../slideLayouts/slideLayout435.xml"/><Relationship Id="rId277" Type="http://schemas.openxmlformats.org/officeDocument/2006/relationships/slideLayout" Target="../slideLayouts/slideLayout477.xml"/><Relationship Id="rId400" Type="http://schemas.openxmlformats.org/officeDocument/2006/relationships/slideLayout" Target="../slideLayouts/slideLayout600.xml"/><Relationship Id="rId442" Type="http://schemas.openxmlformats.org/officeDocument/2006/relationships/slideLayout" Target="../slideLayouts/slideLayout642.xml"/><Relationship Id="rId484" Type="http://schemas.openxmlformats.org/officeDocument/2006/relationships/slideLayout" Target="../slideLayouts/slideLayout684.xml"/><Relationship Id="rId137" Type="http://schemas.openxmlformats.org/officeDocument/2006/relationships/slideLayout" Target="../slideLayouts/slideLayout337.xml"/><Relationship Id="rId302" Type="http://schemas.openxmlformats.org/officeDocument/2006/relationships/slideLayout" Target="../slideLayouts/slideLayout502.xml"/><Relationship Id="rId344" Type="http://schemas.openxmlformats.org/officeDocument/2006/relationships/slideLayout" Target="../slideLayouts/slideLayout544.xml"/><Relationship Id="rId41" Type="http://schemas.openxmlformats.org/officeDocument/2006/relationships/slideLayout" Target="../slideLayouts/slideLayout241.xml"/><Relationship Id="rId83" Type="http://schemas.openxmlformats.org/officeDocument/2006/relationships/slideLayout" Target="../slideLayouts/slideLayout283.xml"/><Relationship Id="rId179" Type="http://schemas.openxmlformats.org/officeDocument/2006/relationships/slideLayout" Target="../slideLayouts/slideLayout379.xml"/><Relationship Id="rId386" Type="http://schemas.openxmlformats.org/officeDocument/2006/relationships/slideLayout" Target="../slideLayouts/slideLayout586.xml"/><Relationship Id="rId190" Type="http://schemas.openxmlformats.org/officeDocument/2006/relationships/slideLayout" Target="../slideLayouts/slideLayout390.xml"/><Relationship Id="rId204" Type="http://schemas.openxmlformats.org/officeDocument/2006/relationships/slideLayout" Target="../slideLayouts/slideLayout404.xml"/><Relationship Id="rId246" Type="http://schemas.openxmlformats.org/officeDocument/2006/relationships/slideLayout" Target="../slideLayouts/slideLayout446.xml"/><Relationship Id="rId288" Type="http://schemas.openxmlformats.org/officeDocument/2006/relationships/slideLayout" Target="../slideLayouts/slideLayout488.xml"/><Relationship Id="rId411" Type="http://schemas.openxmlformats.org/officeDocument/2006/relationships/slideLayout" Target="../slideLayouts/slideLayout611.xml"/><Relationship Id="rId453" Type="http://schemas.openxmlformats.org/officeDocument/2006/relationships/slideLayout" Target="../slideLayouts/slideLayout653.xml"/><Relationship Id="rId509" Type="http://schemas.openxmlformats.org/officeDocument/2006/relationships/slideLayout" Target="../slideLayouts/slideLayout709.xml"/><Relationship Id="rId106" Type="http://schemas.openxmlformats.org/officeDocument/2006/relationships/slideLayout" Target="../slideLayouts/slideLayout306.xml"/><Relationship Id="rId313" Type="http://schemas.openxmlformats.org/officeDocument/2006/relationships/slideLayout" Target="../slideLayouts/slideLayout513.xml"/><Relationship Id="rId495" Type="http://schemas.openxmlformats.org/officeDocument/2006/relationships/slideLayout" Target="../slideLayouts/slideLayout695.xml"/><Relationship Id="rId10" Type="http://schemas.openxmlformats.org/officeDocument/2006/relationships/slideLayout" Target="../slideLayouts/slideLayout210.xml"/><Relationship Id="rId52" Type="http://schemas.openxmlformats.org/officeDocument/2006/relationships/slideLayout" Target="../slideLayouts/slideLayout252.xml"/><Relationship Id="rId94" Type="http://schemas.openxmlformats.org/officeDocument/2006/relationships/slideLayout" Target="../slideLayouts/slideLayout294.xml"/><Relationship Id="rId148" Type="http://schemas.openxmlformats.org/officeDocument/2006/relationships/slideLayout" Target="../slideLayouts/slideLayout348.xml"/><Relationship Id="rId355" Type="http://schemas.openxmlformats.org/officeDocument/2006/relationships/slideLayout" Target="../slideLayouts/slideLayout555.xml"/><Relationship Id="rId397" Type="http://schemas.openxmlformats.org/officeDocument/2006/relationships/slideLayout" Target="../slideLayouts/slideLayout597.xml"/><Relationship Id="rId520" Type="http://schemas.openxmlformats.org/officeDocument/2006/relationships/slideLayout" Target="../slideLayouts/slideLayout720.xml"/><Relationship Id="rId215" Type="http://schemas.openxmlformats.org/officeDocument/2006/relationships/slideLayout" Target="../slideLayouts/slideLayout415.xml"/><Relationship Id="rId257" Type="http://schemas.openxmlformats.org/officeDocument/2006/relationships/slideLayout" Target="../slideLayouts/slideLayout457.xml"/><Relationship Id="rId422" Type="http://schemas.openxmlformats.org/officeDocument/2006/relationships/slideLayout" Target="../slideLayouts/slideLayout622.xml"/><Relationship Id="rId464" Type="http://schemas.openxmlformats.org/officeDocument/2006/relationships/slideLayout" Target="../slideLayouts/slideLayout664.xml"/><Relationship Id="rId299" Type="http://schemas.openxmlformats.org/officeDocument/2006/relationships/slideLayout" Target="../slideLayouts/slideLayout499.xml"/><Relationship Id="rId63" Type="http://schemas.openxmlformats.org/officeDocument/2006/relationships/slideLayout" Target="../slideLayouts/slideLayout263.xml"/><Relationship Id="rId159" Type="http://schemas.openxmlformats.org/officeDocument/2006/relationships/slideLayout" Target="../slideLayouts/slideLayout359.xml"/><Relationship Id="rId366" Type="http://schemas.openxmlformats.org/officeDocument/2006/relationships/slideLayout" Target="../slideLayouts/slideLayout566.xml"/><Relationship Id="rId226" Type="http://schemas.openxmlformats.org/officeDocument/2006/relationships/slideLayout" Target="../slideLayouts/slideLayout426.xml"/><Relationship Id="rId433" Type="http://schemas.openxmlformats.org/officeDocument/2006/relationships/slideLayout" Target="../slideLayouts/slideLayout633.xml"/><Relationship Id="rId74" Type="http://schemas.openxmlformats.org/officeDocument/2006/relationships/slideLayout" Target="../slideLayouts/slideLayout274.xml"/><Relationship Id="rId377" Type="http://schemas.openxmlformats.org/officeDocument/2006/relationships/slideLayout" Target="../slideLayouts/slideLayout577.xml"/><Relationship Id="rId500" Type="http://schemas.openxmlformats.org/officeDocument/2006/relationships/slideLayout" Target="../slideLayouts/slideLayout700.xml"/><Relationship Id="rId5" Type="http://schemas.openxmlformats.org/officeDocument/2006/relationships/slideLayout" Target="../slideLayouts/slideLayout205.xml"/><Relationship Id="rId237" Type="http://schemas.openxmlformats.org/officeDocument/2006/relationships/slideLayout" Target="../slideLayouts/slideLayout437.xml"/><Relationship Id="rId444" Type="http://schemas.openxmlformats.org/officeDocument/2006/relationships/slideLayout" Target="../slideLayouts/slideLayout6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6.xml"/><Relationship Id="rId13" Type="http://schemas.openxmlformats.org/officeDocument/2006/relationships/slideLayout" Target="../slideLayouts/slideLayout751.xml"/><Relationship Id="rId3" Type="http://schemas.openxmlformats.org/officeDocument/2006/relationships/slideLayout" Target="../slideLayouts/slideLayout741.xml"/><Relationship Id="rId7" Type="http://schemas.openxmlformats.org/officeDocument/2006/relationships/slideLayout" Target="../slideLayouts/slideLayout745.xml"/><Relationship Id="rId12" Type="http://schemas.openxmlformats.org/officeDocument/2006/relationships/slideLayout" Target="../slideLayouts/slideLayout750.xml"/><Relationship Id="rId2" Type="http://schemas.openxmlformats.org/officeDocument/2006/relationships/slideLayout" Target="../slideLayouts/slideLayout740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739.xml"/><Relationship Id="rId6" Type="http://schemas.openxmlformats.org/officeDocument/2006/relationships/slideLayout" Target="../slideLayouts/slideLayout744.xml"/><Relationship Id="rId11" Type="http://schemas.openxmlformats.org/officeDocument/2006/relationships/slideLayout" Target="../slideLayouts/slideLayout749.xml"/><Relationship Id="rId5" Type="http://schemas.openxmlformats.org/officeDocument/2006/relationships/slideLayout" Target="../slideLayouts/slideLayout743.xml"/><Relationship Id="rId15" Type="http://schemas.openxmlformats.org/officeDocument/2006/relationships/slideLayout" Target="../slideLayouts/slideLayout753.xml"/><Relationship Id="rId10" Type="http://schemas.openxmlformats.org/officeDocument/2006/relationships/slideLayout" Target="../slideLayouts/slideLayout748.xml"/><Relationship Id="rId4" Type="http://schemas.openxmlformats.org/officeDocument/2006/relationships/slideLayout" Target="../slideLayouts/slideLayout742.xml"/><Relationship Id="rId9" Type="http://schemas.openxmlformats.org/officeDocument/2006/relationships/slideLayout" Target="../slideLayouts/slideLayout747.xml"/><Relationship Id="rId14" Type="http://schemas.openxmlformats.org/officeDocument/2006/relationships/slideLayout" Target="../slideLayouts/slideLayout7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6" r:id="rId7"/>
    <p:sldLayoutId id="2147483657" r:id="rId8"/>
    <p:sldLayoutId id="2147483658" r:id="rId9"/>
    <p:sldLayoutId id="2147483659" r:id="rId10"/>
    <p:sldLayoutId id="2147488312" r:id="rId11"/>
    <p:sldLayoutId id="2147488327" r:id="rId12"/>
    <p:sldLayoutId id="2147488328" r:id="rId13"/>
    <p:sldLayoutId id="2147488329" r:id="rId14"/>
    <p:sldLayoutId id="2147488330" r:id="rId15"/>
    <p:sldLayoutId id="2147488331" r:id="rId16"/>
    <p:sldLayoutId id="2147488332" r:id="rId17"/>
    <p:sldLayoutId id="2147488333" r:id="rId18"/>
    <p:sldLayoutId id="2147488334" r:id="rId19"/>
    <p:sldLayoutId id="2147488335" r:id="rId20"/>
    <p:sldLayoutId id="2147488336" r:id="rId21"/>
    <p:sldLayoutId id="2147488337" r:id="rId22"/>
    <p:sldLayoutId id="2147483672" r:id="rId23"/>
    <p:sldLayoutId id="2147483673" r:id="rId24"/>
    <p:sldLayoutId id="2147483674" r:id="rId25"/>
    <p:sldLayoutId id="2147488323" r:id="rId26"/>
    <p:sldLayoutId id="2147483676" r:id="rId27"/>
    <p:sldLayoutId id="2147483677" r:id="rId28"/>
    <p:sldLayoutId id="2147483678" r:id="rId29"/>
    <p:sldLayoutId id="2147483679" r:id="rId30"/>
    <p:sldLayoutId id="2147483680" r:id="rId31"/>
    <p:sldLayoutId id="2147483681" r:id="rId32"/>
    <p:sldLayoutId id="2147483682" r:id="rId33"/>
    <p:sldLayoutId id="2147483683" r:id="rId34"/>
    <p:sldLayoutId id="2147483684" r:id="rId35"/>
    <p:sldLayoutId id="2147483685" r:id="rId36"/>
    <p:sldLayoutId id="2147483686" r:id="rId37"/>
    <p:sldLayoutId id="2147483687" r:id="rId38"/>
    <p:sldLayoutId id="2147483688" r:id="rId39"/>
    <p:sldLayoutId id="2147483689" r:id="rId40"/>
    <p:sldLayoutId id="2147483690" r:id="rId41"/>
    <p:sldLayoutId id="2147483691" r:id="rId42"/>
    <p:sldLayoutId id="2147483692" r:id="rId43"/>
    <p:sldLayoutId id="2147483693" r:id="rId44"/>
    <p:sldLayoutId id="2147483694" r:id="rId45"/>
    <p:sldLayoutId id="2147483695" r:id="rId46"/>
    <p:sldLayoutId id="2147483696" r:id="rId47"/>
    <p:sldLayoutId id="2147483697" r:id="rId48"/>
    <p:sldLayoutId id="2147483698" r:id="rId49"/>
    <p:sldLayoutId id="2147483699" r:id="rId50"/>
    <p:sldLayoutId id="2147483700" r:id="rId51"/>
    <p:sldLayoutId id="2147483701" r:id="rId52"/>
    <p:sldLayoutId id="2147483702" r:id="rId53"/>
    <p:sldLayoutId id="2147483703" r:id="rId54"/>
    <p:sldLayoutId id="2147483704" r:id="rId55"/>
    <p:sldLayoutId id="2147483705" r:id="rId56"/>
    <p:sldLayoutId id="2147483706" r:id="rId57"/>
    <p:sldLayoutId id="2147483707" r:id="rId58"/>
    <p:sldLayoutId id="2147483708" r:id="rId59"/>
    <p:sldLayoutId id="2147483709" r:id="rId60"/>
    <p:sldLayoutId id="2147483710" r:id="rId61"/>
    <p:sldLayoutId id="2147483711" r:id="rId62"/>
    <p:sldLayoutId id="2147483712" r:id="rId63"/>
    <p:sldLayoutId id="2147483713" r:id="rId64"/>
    <p:sldLayoutId id="2147483714" r:id="rId65"/>
    <p:sldLayoutId id="2147483715" r:id="rId66"/>
    <p:sldLayoutId id="2147488317" r:id="rId67"/>
    <p:sldLayoutId id="2147488318" r:id="rId68"/>
    <p:sldLayoutId id="2147488319" r:id="rId69"/>
    <p:sldLayoutId id="2147483719" r:id="rId70"/>
    <p:sldLayoutId id="2147483720" r:id="rId71"/>
    <p:sldLayoutId id="2147483721" r:id="rId72"/>
    <p:sldLayoutId id="2147488316" r:id="rId73"/>
    <p:sldLayoutId id="2147483723" r:id="rId74"/>
    <p:sldLayoutId id="2147483724" r:id="rId75"/>
    <p:sldLayoutId id="2147483725" r:id="rId76"/>
    <p:sldLayoutId id="2147483726" r:id="rId77"/>
    <p:sldLayoutId id="2147483727" r:id="rId78"/>
    <p:sldLayoutId id="2147483728" r:id="rId79"/>
    <p:sldLayoutId id="2147483729" r:id="rId80"/>
    <p:sldLayoutId id="2147483730" r:id="rId81"/>
    <p:sldLayoutId id="2147483731" r:id="rId82"/>
    <p:sldLayoutId id="2147483732" r:id="rId83"/>
    <p:sldLayoutId id="2147483733" r:id="rId84"/>
    <p:sldLayoutId id="2147483734" r:id="rId85"/>
    <p:sldLayoutId id="2147483735" r:id="rId86"/>
    <p:sldLayoutId id="2147483736" r:id="rId87"/>
    <p:sldLayoutId id="2147483737" r:id="rId88"/>
    <p:sldLayoutId id="2147483738" r:id="rId89"/>
    <p:sldLayoutId id="2147483739" r:id="rId90"/>
    <p:sldLayoutId id="2147483740" r:id="rId91"/>
    <p:sldLayoutId id="2147483741" r:id="rId92"/>
    <p:sldLayoutId id="2147483742" r:id="rId93"/>
    <p:sldLayoutId id="2147483743" r:id="rId94"/>
    <p:sldLayoutId id="2147483744" r:id="rId95"/>
    <p:sldLayoutId id="2147483745" r:id="rId96"/>
    <p:sldLayoutId id="2147483746" r:id="rId97"/>
    <p:sldLayoutId id="2147483747" r:id="rId98"/>
    <p:sldLayoutId id="2147483748" r:id="rId99"/>
    <p:sldLayoutId id="2147483749" r:id="rId100"/>
    <p:sldLayoutId id="2147483750" r:id="rId101"/>
    <p:sldLayoutId id="2147483751" r:id="rId102"/>
    <p:sldLayoutId id="2147483752" r:id="rId103"/>
    <p:sldLayoutId id="2147483753" r:id="rId104"/>
    <p:sldLayoutId id="2147483754" r:id="rId105"/>
    <p:sldLayoutId id="2147483755" r:id="rId106"/>
    <p:sldLayoutId id="2147483756" r:id="rId107"/>
    <p:sldLayoutId id="2147483757" r:id="rId108"/>
    <p:sldLayoutId id="2147483758" r:id="rId109"/>
    <p:sldLayoutId id="2147483759" r:id="rId110"/>
    <p:sldLayoutId id="2147483760" r:id="rId111"/>
    <p:sldLayoutId id="2147483761" r:id="rId112"/>
    <p:sldLayoutId id="2147483762" r:id="rId113"/>
    <p:sldLayoutId id="2147483763" r:id="rId114"/>
    <p:sldLayoutId id="2147483764" r:id="rId115"/>
    <p:sldLayoutId id="2147483765" r:id="rId116"/>
    <p:sldLayoutId id="2147483766" r:id="rId117"/>
    <p:sldLayoutId id="2147483767" r:id="rId118"/>
    <p:sldLayoutId id="2147483768" r:id="rId119"/>
    <p:sldLayoutId id="2147483769" r:id="rId120"/>
    <p:sldLayoutId id="2147483770" r:id="rId121"/>
    <p:sldLayoutId id="2147483771" r:id="rId122"/>
    <p:sldLayoutId id="2147483772" r:id="rId123"/>
    <p:sldLayoutId id="2147483773" r:id="rId124"/>
    <p:sldLayoutId id="2147483774" r:id="rId125"/>
    <p:sldLayoutId id="2147483775" r:id="rId126"/>
    <p:sldLayoutId id="2147483776" r:id="rId127"/>
    <p:sldLayoutId id="2147483777" r:id="rId128"/>
    <p:sldLayoutId id="2147483778" r:id="rId129"/>
    <p:sldLayoutId id="2147483779" r:id="rId130"/>
    <p:sldLayoutId id="2147483780" r:id="rId131"/>
    <p:sldLayoutId id="2147483781" r:id="rId132"/>
    <p:sldLayoutId id="2147483782" r:id="rId133"/>
    <p:sldLayoutId id="2147483783" r:id="rId134"/>
    <p:sldLayoutId id="2147483784" r:id="rId135"/>
    <p:sldLayoutId id="2147483785" r:id="rId136"/>
    <p:sldLayoutId id="2147483786" r:id="rId137"/>
    <p:sldLayoutId id="2147483787" r:id="rId138"/>
    <p:sldLayoutId id="2147483788" r:id="rId139"/>
    <p:sldLayoutId id="2147483789" r:id="rId140"/>
    <p:sldLayoutId id="2147483790" r:id="rId141"/>
    <p:sldLayoutId id="2147483791" r:id="rId142"/>
    <p:sldLayoutId id="2147483792" r:id="rId143"/>
    <p:sldLayoutId id="2147483793" r:id="rId144"/>
    <p:sldLayoutId id="2147483794" r:id="rId145"/>
    <p:sldLayoutId id="2147483795" r:id="rId146"/>
    <p:sldLayoutId id="2147483796" r:id="rId147"/>
    <p:sldLayoutId id="2147483797" r:id="rId148"/>
    <p:sldLayoutId id="2147483798" r:id="rId149"/>
    <p:sldLayoutId id="2147483799" r:id="rId150"/>
    <p:sldLayoutId id="2147483800" r:id="rId151"/>
    <p:sldLayoutId id="2147483801" r:id="rId152"/>
    <p:sldLayoutId id="2147483802" r:id="rId153"/>
    <p:sldLayoutId id="2147483803" r:id="rId154"/>
    <p:sldLayoutId id="2147483804" r:id="rId155"/>
    <p:sldLayoutId id="2147483805" r:id="rId156"/>
    <p:sldLayoutId id="2147483806" r:id="rId157"/>
    <p:sldLayoutId id="2147483807" r:id="rId158"/>
    <p:sldLayoutId id="2147483808" r:id="rId159"/>
    <p:sldLayoutId id="2147483809" r:id="rId160"/>
    <p:sldLayoutId id="2147483810" r:id="rId161"/>
    <p:sldLayoutId id="2147483811" r:id="rId162"/>
    <p:sldLayoutId id="2147483812" r:id="rId163"/>
    <p:sldLayoutId id="2147483813" r:id="rId164"/>
    <p:sldLayoutId id="2147488320" r:id="rId165"/>
    <p:sldLayoutId id="2147488321" r:id="rId166"/>
    <p:sldLayoutId id="2147488322" r:id="rId167"/>
    <p:sldLayoutId id="2147483817" r:id="rId168"/>
    <p:sldLayoutId id="2147483818" r:id="rId169"/>
    <p:sldLayoutId id="2147483819" r:id="rId170"/>
    <p:sldLayoutId id="2147483820" r:id="rId171"/>
    <p:sldLayoutId id="2147483821" r:id="rId172"/>
    <p:sldLayoutId id="2147483822" r:id="rId173"/>
    <p:sldLayoutId id="2147483823" r:id="rId174"/>
    <p:sldLayoutId id="2147483824" r:id="rId175"/>
    <p:sldLayoutId id="2147483825" r:id="rId176"/>
    <p:sldLayoutId id="2147483826" r:id="rId177"/>
    <p:sldLayoutId id="2147483827" r:id="rId178"/>
    <p:sldLayoutId id="2147483828" r:id="rId179"/>
    <p:sldLayoutId id="2147483829" r:id="rId180"/>
    <p:sldLayoutId id="2147483830" r:id="rId181"/>
    <p:sldLayoutId id="2147483831" r:id="rId182"/>
    <p:sldLayoutId id="2147483832" r:id="rId183"/>
    <p:sldLayoutId id="2147483833" r:id="rId184"/>
    <p:sldLayoutId id="2147488315" r:id="rId185"/>
    <p:sldLayoutId id="2147483835" r:id="rId186"/>
    <p:sldLayoutId id="2147483836" r:id="rId187"/>
    <p:sldLayoutId id="2147483837" r:id="rId188"/>
    <p:sldLayoutId id="2147483838" r:id="rId189"/>
    <p:sldLayoutId id="2147483839" r:id="rId190"/>
    <p:sldLayoutId id="2147483840" r:id="rId191"/>
    <p:sldLayoutId id="2147483841" r:id="rId192"/>
    <p:sldLayoutId id="2147483842" r:id="rId193"/>
    <p:sldLayoutId id="2147483843" r:id="rId194"/>
    <p:sldLayoutId id="2147483844" r:id="rId195"/>
    <p:sldLayoutId id="2147483845" r:id="rId196"/>
    <p:sldLayoutId id="2147483846" r:id="rId197"/>
    <p:sldLayoutId id="2147488313" r:id="rId198"/>
    <p:sldLayoutId id="2147488314" r:id="rId199"/>
    <p:sldLayoutId id="2147488371" r:id="rId20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340" r:id="rId1"/>
    <p:sldLayoutId id="2147488341" r:id="rId2"/>
    <p:sldLayoutId id="2147488342" r:id="rId3"/>
    <p:sldLayoutId id="2147488343" r:id="rId4"/>
    <p:sldLayoutId id="2147487032" r:id="rId5"/>
    <p:sldLayoutId id="2147488344" r:id="rId6"/>
    <p:sldLayoutId id="2147487034" r:id="rId7"/>
    <p:sldLayoutId id="2147488345" r:id="rId8"/>
    <p:sldLayoutId id="2147485558" r:id="rId9"/>
    <p:sldLayoutId id="2147485559" r:id="rId10"/>
    <p:sldLayoutId id="2147485560" r:id="rId11"/>
    <p:sldLayoutId id="2147485561" r:id="rId12"/>
    <p:sldLayoutId id="2147485562" r:id="rId13"/>
    <p:sldLayoutId id="2147485563" r:id="rId14"/>
    <p:sldLayoutId id="2147485564" r:id="rId15"/>
    <p:sldLayoutId id="2147485565" r:id="rId16"/>
    <p:sldLayoutId id="2147485566" r:id="rId17"/>
    <p:sldLayoutId id="2147485567" r:id="rId18"/>
    <p:sldLayoutId id="2147485568" r:id="rId19"/>
    <p:sldLayoutId id="2147488339" r:id="rId20"/>
    <p:sldLayoutId id="2147484557" r:id="rId21"/>
    <p:sldLayoutId id="2147484696" r:id="rId22"/>
    <p:sldLayoutId id="2147484656" r:id="rId23"/>
    <p:sldLayoutId id="2147488246" r:id="rId24"/>
    <p:sldLayoutId id="2147488247" r:id="rId25"/>
    <p:sldLayoutId id="2147488248" r:id="rId26"/>
    <p:sldLayoutId id="2147488249" r:id="rId27"/>
    <p:sldLayoutId id="2147488250" r:id="rId28"/>
    <p:sldLayoutId id="2147488251" r:id="rId29"/>
    <p:sldLayoutId id="2147488252" r:id="rId30"/>
    <p:sldLayoutId id="2147487028" r:id="rId31"/>
    <p:sldLayoutId id="2147487029" r:id="rId32"/>
    <p:sldLayoutId id="2147487030" r:id="rId33"/>
    <p:sldLayoutId id="2147487031" r:id="rId34"/>
    <p:sldLayoutId id="2147487582" r:id="rId35"/>
    <p:sldLayoutId id="2147487033" r:id="rId36"/>
    <p:sldLayoutId id="2147487583" r:id="rId37"/>
    <p:sldLayoutId id="2147487035" r:id="rId38"/>
    <p:sldLayoutId id="2147488346" r:id="rId39"/>
    <p:sldLayoutId id="2147488347" r:id="rId40"/>
    <p:sldLayoutId id="2147488348" r:id="rId41"/>
    <p:sldLayoutId id="2147488349" r:id="rId42"/>
    <p:sldLayoutId id="2147488350" r:id="rId43"/>
    <p:sldLayoutId id="2147488351" r:id="rId44"/>
    <p:sldLayoutId id="2147488352" r:id="rId45"/>
    <p:sldLayoutId id="2147488353" r:id="rId46"/>
    <p:sldLayoutId id="2147488354" r:id="rId47"/>
    <p:sldLayoutId id="2147488355" r:id="rId48"/>
    <p:sldLayoutId id="2147488356" r:id="rId49"/>
    <p:sldLayoutId id="2147488357" r:id="rId50"/>
    <p:sldLayoutId id="2147487192" r:id="rId51"/>
    <p:sldLayoutId id="2147487180" r:id="rId52"/>
    <p:sldLayoutId id="2147483975" r:id="rId53"/>
    <p:sldLayoutId id="2147487182" r:id="rId54"/>
    <p:sldLayoutId id="2147487183" r:id="rId55"/>
    <p:sldLayoutId id="2147487184" r:id="rId56"/>
    <p:sldLayoutId id="2147487185" r:id="rId57"/>
    <p:sldLayoutId id="2147487040" r:id="rId58"/>
    <p:sldLayoutId id="2147487041" r:id="rId59"/>
    <p:sldLayoutId id="2147487188" r:id="rId60"/>
    <p:sldLayoutId id="2147487189" r:id="rId61"/>
    <p:sldLayoutId id="2147487190" r:id="rId62"/>
    <p:sldLayoutId id="2147487042" r:id="rId63"/>
    <p:sldLayoutId id="2147487584" r:id="rId64"/>
    <p:sldLayoutId id="2147487193" r:id="rId65"/>
    <p:sldLayoutId id="2147487043" r:id="rId66"/>
    <p:sldLayoutId id="2147487044" r:id="rId67"/>
    <p:sldLayoutId id="2147487480" r:id="rId68"/>
    <p:sldLayoutId id="2147487046" r:id="rId69"/>
    <p:sldLayoutId id="2147487047" r:id="rId70"/>
    <p:sldLayoutId id="2147487048" r:id="rId71"/>
    <p:sldLayoutId id="2147487049" r:id="rId72"/>
    <p:sldLayoutId id="2147487050" r:id="rId73"/>
    <p:sldLayoutId id="2147487051" r:id="rId74"/>
    <p:sldLayoutId id="2147488358" r:id="rId75"/>
    <p:sldLayoutId id="2147487052" r:id="rId76"/>
    <p:sldLayoutId id="2147487053" r:id="rId77"/>
    <p:sldLayoutId id="2147487482" r:id="rId78"/>
    <p:sldLayoutId id="2147487209" r:id="rId79"/>
    <p:sldLayoutId id="2147487210" r:id="rId80"/>
    <p:sldLayoutId id="2147487211" r:id="rId81"/>
    <p:sldLayoutId id="2147487212" r:id="rId82"/>
    <p:sldLayoutId id="2147487213" r:id="rId83"/>
    <p:sldLayoutId id="2147487214" r:id="rId84"/>
    <p:sldLayoutId id="2147488360" r:id="rId85"/>
    <p:sldLayoutId id="2147487215" r:id="rId86"/>
    <p:sldLayoutId id="2147487226" r:id="rId87"/>
    <p:sldLayoutId id="2147487227" r:id="rId88"/>
    <p:sldLayoutId id="2147487483" r:id="rId89"/>
    <p:sldLayoutId id="2147487484" r:id="rId90"/>
    <p:sldLayoutId id="2147487058" r:id="rId91"/>
    <p:sldLayoutId id="2147487231" r:id="rId92"/>
    <p:sldLayoutId id="2147487232" r:id="rId93"/>
    <p:sldLayoutId id="2147487233" r:id="rId94"/>
    <p:sldLayoutId id="2147487234" r:id="rId95"/>
    <p:sldLayoutId id="2147487235" r:id="rId96"/>
    <p:sldLayoutId id="2147487236" r:id="rId97"/>
    <p:sldLayoutId id="2147487237" r:id="rId98"/>
    <p:sldLayoutId id="2147487485" r:id="rId99"/>
    <p:sldLayoutId id="2147487060" r:id="rId100"/>
    <p:sldLayoutId id="2147487061" r:id="rId101"/>
    <p:sldLayoutId id="2147487062" r:id="rId102"/>
    <p:sldLayoutId id="2147487242" r:id="rId103"/>
    <p:sldLayoutId id="2147487063" r:id="rId104"/>
    <p:sldLayoutId id="2147487244" r:id="rId105"/>
    <p:sldLayoutId id="2147487245" r:id="rId106"/>
    <p:sldLayoutId id="2147487246" r:id="rId107"/>
    <p:sldLayoutId id="2147487064" r:id="rId108"/>
    <p:sldLayoutId id="2147487486" r:id="rId109"/>
    <p:sldLayoutId id="2147487249" r:id="rId110"/>
    <p:sldLayoutId id="2147487250" r:id="rId111"/>
    <p:sldLayoutId id="2147487251" r:id="rId112"/>
    <p:sldLayoutId id="2147487252" r:id="rId113"/>
    <p:sldLayoutId id="2147487487" r:id="rId114"/>
    <p:sldLayoutId id="2147487065" r:id="rId115"/>
    <p:sldLayoutId id="2147487066" r:id="rId116"/>
    <p:sldLayoutId id="2147487067" r:id="rId117"/>
    <p:sldLayoutId id="2147487068" r:id="rId118"/>
    <p:sldLayoutId id="2147487488" r:id="rId119"/>
    <p:sldLayoutId id="2147487070" r:id="rId120"/>
    <p:sldLayoutId id="2147487071" r:id="rId121"/>
    <p:sldLayoutId id="2147487072" r:id="rId122"/>
    <p:sldLayoutId id="2147487073" r:id="rId123"/>
    <p:sldLayoutId id="2147487074" r:id="rId124"/>
    <p:sldLayoutId id="2147487075" r:id="rId125"/>
    <p:sldLayoutId id="2147487489" r:id="rId126"/>
    <p:sldLayoutId id="2147487265" r:id="rId127"/>
    <p:sldLayoutId id="2147487266" r:id="rId128"/>
    <p:sldLayoutId id="2147487076" r:id="rId129"/>
    <p:sldLayoutId id="2147487078" r:id="rId130"/>
    <p:sldLayoutId id="2147487270" r:id="rId131"/>
    <p:sldLayoutId id="2147487271" r:id="rId132"/>
    <p:sldLayoutId id="2147487272" r:id="rId133"/>
    <p:sldLayoutId id="2147487273" r:id="rId134"/>
    <p:sldLayoutId id="2147487274" r:id="rId135"/>
    <p:sldLayoutId id="2147487275" r:id="rId136"/>
    <p:sldLayoutId id="2147487276" r:id="rId137"/>
    <p:sldLayoutId id="2147487490" r:id="rId138"/>
    <p:sldLayoutId id="2147487079" r:id="rId139"/>
    <p:sldLayoutId id="2147487491" r:id="rId140"/>
    <p:sldLayoutId id="2147487081" r:id="rId141"/>
    <p:sldLayoutId id="2147487082" r:id="rId142"/>
    <p:sldLayoutId id="2147487083" r:id="rId143"/>
    <p:sldLayoutId id="2147487084" r:id="rId144"/>
    <p:sldLayoutId id="2147487085" r:id="rId145"/>
    <p:sldLayoutId id="2147487086" r:id="rId146"/>
    <p:sldLayoutId id="2147487087" r:id="rId147"/>
    <p:sldLayoutId id="2147487088" r:id="rId148"/>
    <p:sldLayoutId id="2147487089" r:id="rId149"/>
    <p:sldLayoutId id="2147487090" r:id="rId150"/>
    <p:sldLayoutId id="2147487290" r:id="rId151"/>
    <p:sldLayoutId id="2147487291" r:id="rId152"/>
    <p:sldLayoutId id="2147487292" r:id="rId153"/>
    <p:sldLayoutId id="2147487294" r:id="rId154"/>
    <p:sldLayoutId id="2147487295" r:id="rId155"/>
    <p:sldLayoutId id="2147487296" r:id="rId156"/>
    <p:sldLayoutId id="2147487297" r:id="rId157"/>
    <p:sldLayoutId id="2147487298" r:id="rId158"/>
    <p:sldLayoutId id="2147487311" r:id="rId159"/>
    <p:sldLayoutId id="2147487116" r:id="rId160"/>
    <p:sldLayoutId id="2147487117" r:id="rId161"/>
    <p:sldLayoutId id="2147487492" r:id="rId162"/>
    <p:sldLayoutId id="2147487098" r:id="rId163"/>
    <p:sldLayoutId id="2147487493" r:id="rId164"/>
    <p:sldLayoutId id="2147487104" r:id="rId165"/>
    <p:sldLayoutId id="2147487326" r:id="rId166"/>
    <p:sldLayoutId id="2147487105" r:id="rId167"/>
    <p:sldLayoutId id="2147487494" r:id="rId168"/>
    <p:sldLayoutId id="2147487495" r:id="rId169"/>
    <p:sldLayoutId id="2147487108" r:id="rId170"/>
    <p:sldLayoutId id="2147487109" r:id="rId171"/>
    <p:sldLayoutId id="2147487110" r:id="rId172"/>
    <p:sldLayoutId id="2147487111" r:id="rId173"/>
    <p:sldLayoutId id="2147487112" r:id="rId174"/>
    <p:sldLayoutId id="2147487113" r:id="rId175"/>
    <p:sldLayoutId id="2147487498" r:id="rId176"/>
    <p:sldLayoutId id="2147487499" r:id="rId177"/>
    <p:sldLayoutId id="2147487122" r:id="rId178"/>
    <p:sldLayoutId id="2147487123" r:id="rId179"/>
    <p:sldLayoutId id="2147487346" r:id="rId180"/>
    <p:sldLayoutId id="2147487500" r:id="rId181"/>
    <p:sldLayoutId id="2147487348" r:id="rId182"/>
    <p:sldLayoutId id="2147487349" r:id="rId183"/>
    <p:sldLayoutId id="2147483847" r:id="rId184"/>
    <p:sldLayoutId id="2147483848" r:id="rId185"/>
    <p:sldLayoutId id="2147483849" r:id="rId186"/>
    <p:sldLayoutId id="2147483850" r:id="rId187"/>
    <p:sldLayoutId id="2147483851" r:id="rId188"/>
    <p:sldLayoutId id="2147483852" r:id="rId189"/>
    <p:sldLayoutId id="2147483853" r:id="rId190"/>
    <p:sldLayoutId id="2147483854" r:id="rId191"/>
    <p:sldLayoutId id="2147483855" r:id="rId192"/>
    <p:sldLayoutId id="2147483856" r:id="rId193"/>
    <p:sldLayoutId id="2147483857" r:id="rId194"/>
    <p:sldLayoutId id="2147483858" r:id="rId195"/>
    <p:sldLayoutId id="2147483859" r:id="rId196"/>
    <p:sldLayoutId id="2147487005" r:id="rId197"/>
    <p:sldLayoutId id="2147483861" r:id="rId198"/>
    <p:sldLayoutId id="2147483874" r:id="rId199"/>
    <p:sldLayoutId id="2147483875" r:id="rId200"/>
    <p:sldLayoutId id="2147483876" r:id="rId201"/>
    <p:sldLayoutId id="2147488298" r:id="rId202"/>
    <p:sldLayoutId id="2147488299" r:id="rId203"/>
    <p:sldLayoutId id="2147483879" r:id="rId204"/>
    <p:sldLayoutId id="2147483880" r:id="rId205"/>
    <p:sldLayoutId id="2147483881" r:id="rId206"/>
    <p:sldLayoutId id="2147483882" r:id="rId207"/>
    <p:sldLayoutId id="2147483883" r:id="rId208"/>
    <p:sldLayoutId id="2147483884" r:id="rId209"/>
    <p:sldLayoutId id="2147483885" r:id="rId210"/>
    <p:sldLayoutId id="2147483886" r:id="rId211"/>
    <p:sldLayoutId id="2147483887" r:id="rId212"/>
    <p:sldLayoutId id="2147483888" r:id="rId213"/>
    <p:sldLayoutId id="2147483889" r:id="rId214"/>
    <p:sldLayoutId id="2147483890" r:id="rId215"/>
    <p:sldLayoutId id="2147483891" r:id="rId216"/>
    <p:sldLayoutId id="2147483892" r:id="rId217"/>
    <p:sldLayoutId id="2147483893" r:id="rId218"/>
    <p:sldLayoutId id="2147483894" r:id="rId219"/>
    <p:sldLayoutId id="2147483895" r:id="rId220"/>
    <p:sldLayoutId id="2147483896" r:id="rId221"/>
    <p:sldLayoutId id="2147488362" r:id="rId222"/>
    <p:sldLayoutId id="2147488363" r:id="rId223"/>
    <p:sldLayoutId id="2147488364" r:id="rId224"/>
    <p:sldLayoutId id="2147488338" r:id="rId225"/>
    <p:sldLayoutId id="2147483901" r:id="rId226"/>
    <p:sldLayoutId id="2147483902" r:id="rId227"/>
    <p:sldLayoutId id="2147483903" r:id="rId228"/>
    <p:sldLayoutId id="2147483904" r:id="rId229"/>
    <p:sldLayoutId id="2147483906" r:id="rId230"/>
    <p:sldLayoutId id="2147483905" r:id="rId231"/>
    <p:sldLayoutId id="2147483907" r:id="rId232"/>
    <p:sldLayoutId id="2147485639" r:id="rId233"/>
    <p:sldLayoutId id="2147485641" r:id="rId234"/>
    <p:sldLayoutId id="2147485581" r:id="rId235"/>
    <p:sldLayoutId id="2147485642" r:id="rId236"/>
    <p:sldLayoutId id="2147485644" r:id="rId237"/>
    <p:sldLayoutId id="2147485582" r:id="rId238"/>
    <p:sldLayoutId id="2147485583" r:id="rId239"/>
    <p:sldLayoutId id="2147485645" r:id="rId240"/>
    <p:sldLayoutId id="2147485646" r:id="rId241"/>
    <p:sldLayoutId id="2147485647" r:id="rId242"/>
    <p:sldLayoutId id="2147485648" r:id="rId243"/>
    <p:sldLayoutId id="2147485649" r:id="rId244"/>
    <p:sldLayoutId id="2147485640" r:id="rId245"/>
    <p:sldLayoutId id="2147484384" r:id="rId246"/>
    <p:sldLayoutId id="2147483834" r:id="rId247"/>
    <p:sldLayoutId id="2147484385" r:id="rId248"/>
    <p:sldLayoutId id="2147485584" r:id="rId249"/>
    <p:sldLayoutId id="2147484387" r:id="rId250"/>
    <p:sldLayoutId id="2147484388" r:id="rId251"/>
    <p:sldLayoutId id="2147484389" r:id="rId252"/>
    <p:sldLayoutId id="2147484390" r:id="rId253"/>
    <p:sldLayoutId id="2147484391" r:id="rId254"/>
    <p:sldLayoutId id="2147484392" r:id="rId255"/>
    <p:sldLayoutId id="2147485585" r:id="rId256"/>
    <p:sldLayoutId id="2147485586" r:id="rId257"/>
    <p:sldLayoutId id="2147484269" r:id="rId258"/>
    <p:sldLayoutId id="2147484270" r:id="rId259"/>
    <p:sldLayoutId id="2147484271" r:id="rId260"/>
    <p:sldLayoutId id="2147485569" r:id="rId261"/>
    <p:sldLayoutId id="2147485570" r:id="rId262"/>
    <p:sldLayoutId id="2147484272" r:id="rId263"/>
    <p:sldLayoutId id="2147484273" r:id="rId264"/>
    <p:sldLayoutId id="2147484274" r:id="rId265"/>
    <p:sldLayoutId id="2147484275" r:id="rId266"/>
    <p:sldLayoutId id="2147484276" r:id="rId267"/>
    <p:sldLayoutId id="2147484277" r:id="rId268"/>
    <p:sldLayoutId id="2147484238" r:id="rId269"/>
    <p:sldLayoutId id="2147484278" r:id="rId270"/>
    <p:sldLayoutId id="2147485571" r:id="rId271"/>
    <p:sldLayoutId id="2147484279" r:id="rId272"/>
    <p:sldLayoutId id="2147484280" r:id="rId273"/>
    <p:sldLayoutId id="2147484281" r:id="rId274"/>
    <p:sldLayoutId id="2147484282" r:id="rId275"/>
    <p:sldLayoutId id="2147484283" r:id="rId276"/>
    <p:sldLayoutId id="2147484237" r:id="rId277"/>
    <p:sldLayoutId id="2147484284" r:id="rId278"/>
    <p:sldLayoutId id="2147485572" r:id="rId279"/>
    <p:sldLayoutId id="2147484682" r:id="rId280"/>
    <p:sldLayoutId id="2147484683" r:id="rId281"/>
    <p:sldLayoutId id="2147484684" r:id="rId282"/>
    <p:sldLayoutId id="2147486989" r:id="rId283"/>
    <p:sldLayoutId id="2147485573" r:id="rId284"/>
    <p:sldLayoutId id="2147485574" r:id="rId285"/>
    <p:sldLayoutId id="2147484686" r:id="rId286"/>
    <p:sldLayoutId id="2147484687" r:id="rId287"/>
    <p:sldLayoutId id="2147484688" r:id="rId288"/>
    <p:sldLayoutId id="2147484689" r:id="rId289"/>
    <p:sldLayoutId id="2147484690" r:id="rId290"/>
    <p:sldLayoutId id="2147484691" r:id="rId291"/>
    <p:sldLayoutId id="2147488310" r:id="rId292"/>
    <p:sldLayoutId id="2147484643" r:id="rId293"/>
    <p:sldLayoutId id="2147485577" r:id="rId294"/>
    <p:sldLayoutId id="2147488277" r:id="rId295"/>
    <p:sldLayoutId id="2147488278" r:id="rId296"/>
    <p:sldLayoutId id="2147488279" r:id="rId297"/>
    <p:sldLayoutId id="2147485578" r:id="rId298"/>
    <p:sldLayoutId id="2147485579" r:id="rId299"/>
    <p:sldLayoutId id="2147488280" r:id="rId300"/>
    <p:sldLayoutId id="2147488281" r:id="rId301"/>
    <p:sldLayoutId id="2147488282" r:id="rId302"/>
    <p:sldLayoutId id="2147488283" r:id="rId303"/>
    <p:sldLayoutId id="2147488284" r:id="rId304"/>
    <p:sldLayoutId id="2147488285" r:id="rId305"/>
    <p:sldLayoutId id="2147485074" r:id="rId306"/>
    <p:sldLayoutId id="2147485075" r:id="rId307"/>
    <p:sldLayoutId id="2147485076" r:id="rId308"/>
    <p:sldLayoutId id="2147485077" r:id="rId309"/>
    <p:sldLayoutId id="2147485078" r:id="rId310"/>
    <p:sldLayoutId id="2147485079" r:id="rId311"/>
    <p:sldLayoutId id="2147485080" r:id="rId312"/>
    <p:sldLayoutId id="2147485081" r:id="rId313"/>
    <p:sldLayoutId id="2147485082" r:id="rId314"/>
    <p:sldLayoutId id="2147485083" r:id="rId315"/>
    <p:sldLayoutId id="2147486832" r:id="rId316"/>
    <p:sldLayoutId id="2147485405" r:id="rId317"/>
    <p:sldLayoutId id="2147484559" r:id="rId318"/>
    <p:sldLayoutId id="2147486833" r:id="rId319"/>
    <p:sldLayoutId id="2147485406" r:id="rId320"/>
    <p:sldLayoutId id="2147486834" r:id="rId321"/>
    <p:sldLayoutId id="2147486835" r:id="rId322"/>
    <p:sldLayoutId id="2147486836" r:id="rId323"/>
    <p:sldLayoutId id="2147486837" r:id="rId324"/>
    <p:sldLayoutId id="2147486838" r:id="rId325"/>
    <p:sldLayoutId id="2147486839" r:id="rId326"/>
    <p:sldLayoutId id="2147485444" r:id="rId327"/>
    <p:sldLayoutId id="2147484355" r:id="rId328"/>
    <p:sldLayoutId id="2147485623" r:id="rId329"/>
    <p:sldLayoutId id="2147484356" r:id="rId330"/>
    <p:sldLayoutId id="2147483860" r:id="rId331"/>
    <p:sldLayoutId id="2147486840" r:id="rId332"/>
    <p:sldLayoutId id="2147484358" r:id="rId333"/>
    <p:sldLayoutId id="2147484359" r:id="rId334"/>
    <p:sldLayoutId id="2147484360" r:id="rId335"/>
    <p:sldLayoutId id="2147484393" r:id="rId336"/>
    <p:sldLayoutId id="2147484394" r:id="rId337"/>
    <p:sldLayoutId id="2147484361" r:id="rId338"/>
    <p:sldLayoutId id="2147484475" r:id="rId339"/>
    <p:sldLayoutId id="2147484415" r:id="rId340"/>
    <p:sldLayoutId id="2147484416" r:id="rId341"/>
    <p:sldLayoutId id="2147484376" r:id="rId342"/>
    <p:sldLayoutId id="2147485593" r:id="rId343"/>
    <p:sldLayoutId id="2147484418" r:id="rId344"/>
    <p:sldLayoutId id="2147484419" r:id="rId345"/>
    <p:sldLayoutId id="2147484420" r:id="rId346"/>
    <p:sldLayoutId id="2147484377" r:id="rId347"/>
    <p:sldLayoutId id="2147484378" r:id="rId348"/>
    <p:sldLayoutId id="2147484379" r:id="rId349"/>
    <p:sldLayoutId id="2147484421" r:id="rId350"/>
    <p:sldLayoutId id="2147483877" r:id="rId351"/>
    <p:sldLayoutId id="2147483878" r:id="rId352"/>
    <p:sldLayoutId id="2147484662" r:id="rId353"/>
    <p:sldLayoutId id="2147484676" r:id="rId354"/>
    <p:sldLayoutId id="2147484677" r:id="rId355"/>
    <p:sldLayoutId id="2147484678" r:id="rId356"/>
    <p:sldLayoutId id="2147488365" r:id="rId357"/>
    <p:sldLayoutId id="2147484571" r:id="rId358"/>
    <p:sldLayoutId id="2147488369" r:id="rId359"/>
    <p:sldLayoutId id="2147488306" r:id="rId360"/>
    <p:sldLayoutId id="2147488307" r:id="rId361"/>
    <p:sldLayoutId id="2147488308" r:id="rId362"/>
    <p:sldLayoutId id="2147488309" r:id="rId363"/>
    <p:sldLayoutId id="2147487453" r:id="rId364"/>
    <p:sldLayoutId id="2147485468" r:id="rId365"/>
    <p:sldLayoutId id="2147485629" r:id="rId366"/>
    <p:sldLayoutId id="2147485358" r:id="rId367"/>
    <p:sldLayoutId id="2147485630" r:id="rId368"/>
    <p:sldLayoutId id="2147485631" r:id="rId369"/>
    <p:sldLayoutId id="2147485632" r:id="rId370"/>
    <p:sldLayoutId id="2147485385" r:id="rId371"/>
    <p:sldLayoutId id="2147485633" r:id="rId372"/>
    <p:sldLayoutId id="2147485469" r:id="rId373"/>
    <p:sldLayoutId id="2147484570" r:id="rId374"/>
    <p:sldLayoutId id="2147486842" r:id="rId375"/>
    <p:sldLayoutId id="2147484222" r:id="rId376"/>
    <p:sldLayoutId id="2147485580" r:id="rId377"/>
    <p:sldLayoutId id="2147487132" r:id="rId378"/>
    <p:sldLayoutId id="2147487133" r:id="rId379"/>
    <p:sldLayoutId id="2147487134" r:id="rId380"/>
    <p:sldLayoutId id="2147487509" r:id="rId381"/>
    <p:sldLayoutId id="2147487136" r:id="rId382"/>
    <p:sldLayoutId id="2147487137" r:id="rId383"/>
    <p:sldLayoutId id="2147487138" r:id="rId384"/>
    <p:sldLayoutId id="2147487139" r:id="rId385"/>
    <p:sldLayoutId id="2147487140" r:id="rId386"/>
    <p:sldLayoutId id="2147487141" r:id="rId387"/>
    <p:sldLayoutId id="2147483934" r:id="rId388"/>
    <p:sldLayoutId id="2147483935" r:id="rId389"/>
    <p:sldLayoutId id="2147483936" r:id="rId390"/>
    <p:sldLayoutId id="2147485072" r:id="rId391"/>
    <p:sldLayoutId id="2147484566" r:id="rId392"/>
    <p:sldLayoutId id="2147485470" r:id="rId393"/>
    <p:sldLayoutId id="2147484231" r:id="rId394"/>
    <p:sldLayoutId id="2147484268" r:id="rId395"/>
    <p:sldLayoutId id="2147484235" r:id="rId396"/>
    <p:sldLayoutId id="2147485587" r:id="rId397"/>
    <p:sldLayoutId id="2147484245" r:id="rId398"/>
    <p:sldLayoutId id="2147484262" r:id="rId399"/>
    <p:sldLayoutId id="2147484285" r:id="rId400"/>
    <p:sldLayoutId id="2147484286" r:id="rId401"/>
    <p:sldLayoutId id="2147484287" r:id="rId402"/>
    <p:sldLayoutId id="2147484233" r:id="rId403"/>
    <p:sldLayoutId id="2147484577" r:id="rId404"/>
    <p:sldLayoutId id="2147488287" r:id="rId405"/>
    <p:sldLayoutId id="2147488288" r:id="rId406"/>
    <p:sldLayoutId id="2147485588" r:id="rId407"/>
    <p:sldLayoutId id="2147488289" r:id="rId408"/>
    <p:sldLayoutId id="2147488290" r:id="rId409"/>
    <p:sldLayoutId id="2147488291" r:id="rId410"/>
    <p:sldLayoutId id="2147488292" r:id="rId411"/>
    <p:sldLayoutId id="2147488293" r:id="rId412"/>
    <p:sldLayoutId id="2147484578" r:id="rId413"/>
    <p:sldLayoutId id="2147485589" r:id="rId414"/>
    <p:sldLayoutId id="2147484334" r:id="rId415"/>
    <p:sldLayoutId id="2147488296" r:id="rId416"/>
    <p:sldLayoutId id="2147484288" r:id="rId417"/>
    <p:sldLayoutId id="2147484289" r:id="rId418"/>
    <p:sldLayoutId id="2147484290" r:id="rId419"/>
    <p:sldLayoutId id="2147484291" r:id="rId420"/>
    <p:sldLayoutId id="2147484292" r:id="rId421"/>
    <p:sldLayoutId id="2147484293" r:id="rId422"/>
    <p:sldLayoutId id="2147484294" r:id="rId423"/>
    <p:sldLayoutId id="2147484295" r:id="rId424"/>
    <p:sldLayoutId id="2147484296" r:id="rId425"/>
    <p:sldLayoutId id="2147485409" r:id="rId426"/>
    <p:sldLayoutId id="2147485634" r:id="rId427"/>
    <p:sldLayoutId id="2147485635" r:id="rId428"/>
    <p:sldLayoutId id="2147485367" r:id="rId429"/>
    <p:sldLayoutId id="2147485368" r:id="rId430"/>
    <p:sldLayoutId id="2147485369" r:id="rId431"/>
    <p:sldLayoutId id="2147485400" r:id="rId432"/>
    <p:sldLayoutId id="2147485401" r:id="rId433"/>
    <p:sldLayoutId id="2147485402" r:id="rId434"/>
    <p:sldLayoutId id="2147485403" r:id="rId435"/>
    <p:sldLayoutId id="2147484297" r:id="rId436"/>
    <p:sldLayoutId id="2147484298" r:id="rId437"/>
    <p:sldLayoutId id="2147484260" r:id="rId438"/>
    <p:sldLayoutId id="2147485591" r:id="rId439"/>
    <p:sldLayoutId id="2147484299" r:id="rId440"/>
    <p:sldLayoutId id="2147484267" r:id="rId441"/>
    <p:sldLayoutId id="2147484300" r:id="rId442"/>
    <p:sldLayoutId id="2147484301" r:id="rId443"/>
    <p:sldLayoutId id="2147484302" r:id="rId444"/>
    <p:sldLayoutId id="2147484303" r:id="rId445"/>
    <p:sldLayoutId id="2147485411" r:id="rId446"/>
    <p:sldLayoutId id="2147486252" r:id="rId447"/>
    <p:sldLayoutId id="2147486253" r:id="rId448"/>
    <p:sldLayoutId id="2147486363" r:id="rId449"/>
    <p:sldLayoutId id="2147487006" r:id="rId450"/>
    <p:sldLayoutId id="2147486364" r:id="rId451"/>
    <p:sldLayoutId id="2147486365" r:id="rId452"/>
    <p:sldLayoutId id="2147487007" r:id="rId453"/>
    <p:sldLayoutId id="2147483940" r:id="rId454"/>
    <p:sldLayoutId id="2147486366" r:id="rId455"/>
    <p:sldLayoutId id="2147486367" r:id="rId456"/>
    <p:sldLayoutId id="2147486368" r:id="rId457"/>
    <p:sldLayoutId id="2147486369" r:id="rId458"/>
    <p:sldLayoutId id="2147483944" r:id="rId459"/>
    <p:sldLayoutId id="2147483945" r:id="rId460"/>
    <p:sldLayoutId id="2147483949" r:id="rId461"/>
    <p:sldLayoutId id="2147483955" r:id="rId462"/>
    <p:sldLayoutId id="2147483967" r:id="rId463"/>
    <p:sldLayoutId id="2147483968" r:id="rId464"/>
    <p:sldLayoutId id="2147483969" r:id="rId465"/>
    <p:sldLayoutId id="2147483971" r:id="rId466"/>
    <p:sldLayoutId id="2147483972" r:id="rId467"/>
    <p:sldLayoutId id="2147483973" r:id="rId468"/>
    <p:sldLayoutId id="2147483976" r:id="rId469"/>
    <p:sldLayoutId id="2147483977" r:id="rId470"/>
    <p:sldLayoutId id="2147483978" r:id="rId471"/>
    <p:sldLayoutId id="2147483984" r:id="rId472"/>
    <p:sldLayoutId id="2147487569" r:id="rId473"/>
    <p:sldLayoutId id="2147487570" r:id="rId474"/>
    <p:sldLayoutId id="2147483987" r:id="rId475"/>
    <p:sldLayoutId id="2147483988" r:id="rId476"/>
    <p:sldLayoutId id="2147483989" r:id="rId477"/>
    <p:sldLayoutId id="2147483990" r:id="rId478"/>
    <p:sldLayoutId id="2147483991" r:id="rId479"/>
    <p:sldLayoutId id="2147487571" r:id="rId480"/>
    <p:sldLayoutId id="2147487572" r:id="rId481"/>
    <p:sldLayoutId id="2147483994" r:id="rId482"/>
    <p:sldLayoutId id="2147483995" r:id="rId483"/>
    <p:sldLayoutId id="2147483996" r:id="rId484"/>
    <p:sldLayoutId id="2147483997" r:id="rId485"/>
    <p:sldLayoutId id="2147483998" r:id="rId486"/>
    <p:sldLayoutId id="2147483999" r:id="rId487"/>
    <p:sldLayoutId id="2147484000" r:id="rId488"/>
    <p:sldLayoutId id="2147484001" r:id="rId489"/>
    <p:sldLayoutId id="2147484652" r:id="rId490"/>
    <p:sldLayoutId id="2147484653" r:id="rId491"/>
    <p:sldLayoutId id="2147487008" r:id="rId492"/>
    <p:sldLayoutId id="2147487009" r:id="rId493"/>
    <p:sldLayoutId id="2147488367" r:id="rId494"/>
    <p:sldLayoutId id="2147487010" r:id="rId495"/>
    <p:sldLayoutId id="2147487011" r:id="rId496"/>
    <p:sldLayoutId id="2147487012" r:id="rId497"/>
    <p:sldLayoutId id="2147487013" r:id="rId498"/>
    <p:sldLayoutId id="2147484999" r:id="rId499"/>
    <p:sldLayoutId id="2147485001" r:id="rId500"/>
    <p:sldLayoutId id="2147485002" r:id="rId501"/>
    <p:sldLayoutId id="2147485006" r:id="rId502"/>
    <p:sldLayoutId id="2147485007" r:id="rId503"/>
    <p:sldLayoutId id="2147485008" r:id="rId504"/>
    <p:sldLayoutId id="2147487473" r:id="rId505"/>
    <p:sldLayoutId id="2147485843" r:id="rId506"/>
    <p:sldLayoutId id="2147485844" r:id="rId507"/>
    <p:sldLayoutId id="2147484654" r:id="rId508"/>
    <p:sldLayoutId id="2147484655" r:id="rId509"/>
    <p:sldLayoutId id="2147484692" r:id="rId510"/>
    <p:sldLayoutId id="2147488305" r:id="rId511"/>
    <p:sldLayoutId id="2147488368" r:id="rId512"/>
    <p:sldLayoutId id="2147484572" r:id="rId513"/>
    <p:sldLayoutId id="2147485391" r:id="rId514"/>
    <p:sldLayoutId id="2147485392" r:id="rId515"/>
    <p:sldLayoutId id="2147486709" r:id="rId516"/>
    <p:sldLayoutId id="2147486716" r:id="rId517"/>
    <p:sldLayoutId id="2147485880" r:id="rId518"/>
    <p:sldLayoutId id="2147485393" r:id="rId519"/>
    <p:sldLayoutId id="2147484354" r:id="rId520"/>
    <p:sldLayoutId id="2147485394" r:id="rId521"/>
    <p:sldLayoutId id="2147485395" r:id="rId522"/>
    <p:sldLayoutId id="2147486863" r:id="rId523"/>
    <p:sldLayoutId id="2147486864" r:id="rId524"/>
    <p:sldLayoutId id="2147486865" r:id="rId525"/>
    <p:sldLayoutId id="2147485396" r:id="rId526"/>
    <p:sldLayoutId id="2147488079" r:id="rId527"/>
    <p:sldLayoutId id="2147488370" r:id="rId528"/>
    <p:sldLayoutId id="2147488240" r:id="rId529"/>
    <p:sldLayoutId id="2147488241" r:id="rId530"/>
    <p:sldLayoutId id="2147486866" r:id="rId531"/>
    <p:sldLayoutId id="2147485419" r:id="rId532"/>
    <p:sldLayoutId id="2147485420" r:id="rId533"/>
    <p:sldLayoutId id="2147485179" r:id="rId534"/>
    <p:sldLayoutId id="2147483675" r:id="rId535"/>
    <p:sldLayoutId id="2147486360" r:id="rId536"/>
    <p:sldLayoutId id="2147488297" r:id="rId537"/>
    <p:sldLayoutId id="2147485425" r:id="rId53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5/28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8242" r:id="rId12"/>
    <p:sldLayoutId id="2147488243" r:id="rId13"/>
    <p:sldLayoutId id="2147488244" r:id="rId14"/>
    <p:sldLayoutId id="214748824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13" Type="http://schemas.openxmlformats.org/officeDocument/2006/relationships/image" Target="../media/image129.sv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1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5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127.sv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131.svg"/><Relationship Id="rId10" Type="http://schemas.openxmlformats.org/officeDocument/2006/relationships/image" Target="../media/image126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125.svg"/><Relationship Id="rId14" Type="http://schemas.openxmlformats.org/officeDocument/2006/relationships/image" Target="../media/image1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7" Type="http://schemas.openxmlformats.org/officeDocument/2006/relationships/image" Target="../media/image1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2.png"/><Relationship Id="rId5" Type="http://schemas.openxmlformats.org/officeDocument/2006/relationships/image" Target="../media/image134.png"/><Relationship Id="rId4" Type="http://schemas.openxmlformats.org/officeDocument/2006/relationships/image" Target="../media/image13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2.png"/><Relationship Id="rId5" Type="http://schemas.openxmlformats.org/officeDocument/2006/relationships/image" Target="../media/image136.png"/><Relationship Id="rId4" Type="http://schemas.openxmlformats.org/officeDocument/2006/relationships/image" Target="../media/image133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png"/><Relationship Id="rId3" Type="http://schemas.openxmlformats.org/officeDocument/2006/relationships/image" Target="../media/image138.svg"/><Relationship Id="rId7" Type="http://schemas.openxmlformats.org/officeDocument/2006/relationships/image" Target="../media/image141.svg"/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219.xml"/><Relationship Id="rId6" Type="http://schemas.openxmlformats.org/officeDocument/2006/relationships/image" Target="../media/image140.png"/><Relationship Id="rId11" Type="http://schemas.openxmlformats.org/officeDocument/2006/relationships/image" Target="../media/image145.svg"/><Relationship Id="rId5" Type="http://schemas.openxmlformats.org/officeDocument/2006/relationships/hyperlink" Target="mailto:kmoreno@northshore.org" TargetMode="External"/><Relationship Id="rId10" Type="http://schemas.openxmlformats.org/officeDocument/2006/relationships/image" Target="../media/image144.png"/><Relationship Id="rId4" Type="http://schemas.openxmlformats.org/officeDocument/2006/relationships/image" Target="../media/image139.jpeg"/><Relationship Id="rId9" Type="http://schemas.openxmlformats.org/officeDocument/2006/relationships/image" Target="../media/image143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png"/><Relationship Id="rId3" Type="http://schemas.openxmlformats.org/officeDocument/2006/relationships/image" Target="../media/image146.png"/><Relationship Id="rId7" Type="http://schemas.openxmlformats.org/officeDocument/2006/relationships/image" Target="../media/image150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9.xml"/><Relationship Id="rId6" Type="http://schemas.openxmlformats.org/officeDocument/2006/relationships/image" Target="../media/image149.png"/><Relationship Id="rId11" Type="http://schemas.openxmlformats.org/officeDocument/2006/relationships/image" Target="../media/image154.svg"/><Relationship Id="rId5" Type="http://schemas.openxmlformats.org/officeDocument/2006/relationships/image" Target="../media/image148.png"/><Relationship Id="rId10" Type="http://schemas.openxmlformats.org/officeDocument/2006/relationships/image" Target="../media/image153.png"/><Relationship Id="rId4" Type="http://schemas.openxmlformats.org/officeDocument/2006/relationships/image" Target="../media/image147.svg"/><Relationship Id="rId9" Type="http://schemas.openxmlformats.org/officeDocument/2006/relationships/image" Target="../media/image152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png"/><Relationship Id="rId13" Type="http://schemas.openxmlformats.org/officeDocument/2006/relationships/image" Target="../media/image160.sv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image" Target="../media/image15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40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158.svg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157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156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74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2.png"/><Relationship Id="rId5" Type="http://schemas.openxmlformats.org/officeDocument/2006/relationships/image" Target="../media/image163.png"/><Relationship Id="rId4" Type="http://schemas.openxmlformats.org/officeDocument/2006/relationships/image" Target="../media/image133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7" Type="http://schemas.openxmlformats.org/officeDocument/2006/relationships/image" Target="../media/image16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2.png"/><Relationship Id="rId5" Type="http://schemas.openxmlformats.org/officeDocument/2006/relationships/image" Target="../media/image164.png"/><Relationship Id="rId4" Type="http://schemas.openxmlformats.org/officeDocument/2006/relationships/image" Target="../media/image133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1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svg"/><Relationship Id="rId3" Type="http://schemas.openxmlformats.org/officeDocument/2006/relationships/image" Target="../media/image114.png"/><Relationship Id="rId7" Type="http://schemas.openxmlformats.org/officeDocument/2006/relationships/image" Target="../media/image1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7.svg"/><Relationship Id="rId11" Type="http://schemas.openxmlformats.org/officeDocument/2006/relationships/image" Target="../media/image122.png"/><Relationship Id="rId5" Type="http://schemas.openxmlformats.org/officeDocument/2006/relationships/image" Target="../media/image116.png"/><Relationship Id="rId10" Type="http://schemas.openxmlformats.org/officeDocument/2006/relationships/image" Target="../media/image121.svg"/><Relationship Id="rId4" Type="http://schemas.openxmlformats.org/officeDocument/2006/relationships/image" Target="../media/image115.svg"/><Relationship Id="rId9" Type="http://schemas.openxmlformats.org/officeDocument/2006/relationships/image" Target="../media/image12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svg"/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5.svg"/><Relationship Id="rId5" Type="http://schemas.openxmlformats.org/officeDocument/2006/relationships/image" Target="../media/image94.png"/><Relationship Id="rId4" Type="http://schemas.openxmlformats.org/officeDocument/2006/relationships/image" Target="../media/image93.svg"/><Relationship Id="rId9" Type="http://schemas.openxmlformats.org/officeDocument/2006/relationships/image" Target="../media/image9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2.png"/><Relationship Id="rId5" Type="http://schemas.openxmlformats.org/officeDocument/2006/relationships/image" Target="../media/image167.png"/><Relationship Id="rId4" Type="http://schemas.openxmlformats.org/officeDocument/2006/relationships/image" Target="../media/image133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2.png"/><Relationship Id="rId5" Type="http://schemas.openxmlformats.org/officeDocument/2006/relationships/image" Target="../media/image168.png"/><Relationship Id="rId4" Type="http://schemas.openxmlformats.org/officeDocument/2006/relationships/image" Target="../media/image133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2.png"/><Relationship Id="rId5" Type="http://schemas.openxmlformats.org/officeDocument/2006/relationships/image" Target="../media/image169.png"/><Relationship Id="rId4" Type="http://schemas.openxmlformats.org/officeDocument/2006/relationships/image" Target="../media/image133.sv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5.svg"/><Relationship Id="rId13" Type="http://schemas.openxmlformats.org/officeDocument/2006/relationships/image" Target="../media/image180.png"/><Relationship Id="rId18" Type="http://schemas.openxmlformats.org/officeDocument/2006/relationships/image" Target="../media/image185.svg"/><Relationship Id="rId3" Type="http://schemas.openxmlformats.org/officeDocument/2006/relationships/image" Target="../media/image170.png"/><Relationship Id="rId7" Type="http://schemas.openxmlformats.org/officeDocument/2006/relationships/image" Target="../media/image174.png"/><Relationship Id="rId12" Type="http://schemas.openxmlformats.org/officeDocument/2006/relationships/image" Target="../media/image179.svg"/><Relationship Id="rId17" Type="http://schemas.openxmlformats.org/officeDocument/2006/relationships/image" Target="../media/image184.pn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183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3.svg"/><Relationship Id="rId11" Type="http://schemas.openxmlformats.org/officeDocument/2006/relationships/image" Target="../media/image178.png"/><Relationship Id="rId5" Type="http://schemas.openxmlformats.org/officeDocument/2006/relationships/image" Target="../media/image172.png"/><Relationship Id="rId15" Type="http://schemas.openxmlformats.org/officeDocument/2006/relationships/image" Target="../media/image182.png"/><Relationship Id="rId10" Type="http://schemas.openxmlformats.org/officeDocument/2006/relationships/image" Target="../media/image177.svg"/><Relationship Id="rId19" Type="http://schemas.openxmlformats.org/officeDocument/2006/relationships/image" Target="../media/image186.png"/><Relationship Id="rId4" Type="http://schemas.openxmlformats.org/officeDocument/2006/relationships/image" Target="../media/image171.svg"/><Relationship Id="rId9" Type="http://schemas.openxmlformats.org/officeDocument/2006/relationships/image" Target="../media/image176.png"/><Relationship Id="rId14" Type="http://schemas.openxmlformats.org/officeDocument/2006/relationships/image" Target="../media/image181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5.svg"/><Relationship Id="rId13" Type="http://schemas.openxmlformats.org/officeDocument/2006/relationships/image" Target="../media/image184.png"/><Relationship Id="rId18" Type="http://schemas.openxmlformats.org/officeDocument/2006/relationships/image" Target="../media/image190.png"/><Relationship Id="rId3" Type="http://schemas.openxmlformats.org/officeDocument/2006/relationships/image" Target="../media/image170.png"/><Relationship Id="rId7" Type="http://schemas.openxmlformats.org/officeDocument/2006/relationships/image" Target="../media/image174.png"/><Relationship Id="rId12" Type="http://schemas.openxmlformats.org/officeDocument/2006/relationships/image" Target="../media/image179.svg"/><Relationship Id="rId17" Type="http://schemas.openxmlformats.org/officeDocument/2006/relationships/image" Target="../media/image189.jpe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18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3.svg"/><Relationship Id="rId11" Type="http://schemas.openxmlformats.org/officeDocument/2006/relationships/image" Target="../media/image178.png"/><Relationship Id="rId5" Type="http://schemas.openxmlformats.org/officeDocument/2006/relationships/image" Target="../media/image172.png"/><Relationship Id="rId15" Type="http://schemas.openxmlformats.org/officeDocument/2006/relationships/image" Target="../media/image187.jpeg"/><Relationship Id="rId10" Type="http://schemas.openxmlformats.org/officeDocument/2006/relationships/image" Target="../media/image177.svg"/><Relationship Id="rId19" Type="http://schemas.openxmlformats.org/officeDocument/2006/relationships/image" Target="../media/image122.png"/><Relationship Id="rId4" Type="http://schemas.openxmlformats.org/officeDocument/2006/relationships/image" Target="../media/image171.svg"/><Relationship Id="rId9" Type="http://schemas.openxmlformats.org/officeDocument/2006/relationships/image" Target="../media/image176.png"/><Relationship Id="rId14" Type="http://schemas.openxmlformats.org/officeDocument/2006/relationships/image" Target="../media/image18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3.svg"/><Relationship Id="rId3" Type="http://schemas.openxmlformats.org/officeDocument/2006/relationships/image" Target="../media/image175.svg"/><Relationship Id="rId7" Type="http://schemas.openxmlformats.org/officeDocument/2006/relationships/image" Target="../media/image172.png"/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9.svg"/><Relationship Id="rId5" Type="http://schemas.openxmlformats.org/officeDocument/2006/relationships/image" Target="../media/image178.png"/><Relationship Id="rId4" Type="http://schemas.openxmlformats.org/officeDocument/2006/relationships/image" Target="../media/image191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3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3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5.jpeg"/><Relationship Id="rId1" Type="http://schemas.openxmlformats.org/officeDocument/2006/relationships/slideLayout" Target="../slideLayouts/slideLayout3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3.sv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7.png"/><Relationship Id="rId5" Type="http://schemas.openxmlformats.org/officeDocument/2006/relationships/image" Target="../media/image122.png"/><Relationship Id="rId4" Type="http://schemas.openxmlformats.org/officeDocument/2006/relationships/image" Target="../media/image196.sv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8.png"/><Relationship Id="rId5" Type="http://schemas.openxmlformats.org/officeDocument/2006/relationships/image" Target="../media/image122.png"/><Relationship Id="rId4" Type="http://schemas.openxmlformats.org/officeDocument/2006/relationships/image" Target="../media/image196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7" Type="http://schemas.openxmlformats.org/officeDocument/2006/relationships/image" Target="../media/image12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0.png"/><Relationship Id="rId5" Type="http://schemas.openxmlformats.org/officeDocument/2006/relationships/image" Target="../media/image199.png"/><Relationship Id="rId4" Type="http://schemas.openxmlformats.org/officeDocument/2006/relationships/image" Target="../media/image13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7" Type="http://schemas.openxmlformats.org/officeDocument/2006/relationships/image" Target="../media/image20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1.png"/><Relationship Id="rId5" Type="http://schemas.openxmlformats.org/officeDocument/2006/relationships/image" Target="../media/image122.png"/><Relationship Id="rId4" Type="http://schemas.openxmlformats.org/officeDocument/2006/relationships/image" Target="../media/image133.sv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5.png"/><Relationship Id="rId3" Type="http://schemas.openxmlformats.org/officeDocument/2006/relationships/image" Target="../media/image132.png"/><Relationship Id="rId7" Type="http://schemas.openxmlformats.org/officeDocument/2006/relationships/image" Target="../media/image12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4.png"/><Relationship Id="rId5" Type="http://schemas.openxmlformats.org/officeDocument/2006/relationships/image" Target="../media/image203.png"/><Relationship Id="rId4" Type="http://schemas.openxmlformats.org/officeDocument/2006/relationships/image" Target="../media/image133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png"/><Relationship Id="rId2" Type="http://schemas.openxmlformats.org/officeDocument/2006/relationships/image" Target="../media/image206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0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svg"/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5.svg"/><Relationship Id="rId5" Type="http://schemas.openxmlformats.org/officeDocument/2006/relationships/image" Target="../media/image94.png"/><Relationship Id="rId4" Type="http://schemas.openxmlformats.org/officeDocument/2006/relationships/image" Target="../media/image93.svg"/><Relationship Id="rId9" Type="http://schemas.openxmlformats.org/officeDocument/2006/relationships/image" Target="../media/image9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svg"/><Relationship Id="rId13" Type="http://schemas.openxmlformats.org/officeDocument/2006/relationships/image" Target="../media/image109.png"/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12" Type="http://schemas.openxmlformats.org/officeDocument/2006/relationships/image" Target="../media/image108.svg"/><Relationship Id="rId17" Type="http://schemas.openxmlformats.org/officeDocument/2006/relationships/image" Target="../media/image113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2.svg"/><Relationship Id="rId11" Type="http://schemas.openxmlformats.org/officeDocument/2006/relationships/image" Target="../media/image107.png"/><Relationship Id="rId5" Type="http://schemas.openxmlformats.org/officeDocument/2006/relationships/image" Target="../media/image101.png"/><Relationship Id="rId15" Type="http://schemas.openxmlformats.org/officeDocument/2006/relationships/image" Target="../media/image111.png"/><Relationship Id="rId10" Type="http://schemas.openxmlformats.org/officeDocument/2006/relationships/image" Target="../media/image106.svg"/><Relationship Id="rId4" Type="http://schemas.openxmlformats.org/officeDocument/2006/relationships/image" Target="../media/image100.svg"/><Relationship Id="rId9" Type="http://schemas.openxmlformats.org/officeDocument/2006/relationships/image" Target="../media/image105.png"/><Relationship Id="rId14" Type="http://schemas.openxmlformats.org/officeDocument/2006/relationships/image" Target="../media/image110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svg"/><Relationship Id="rId3" Type="http://schemas.openxmlformats.org/officeDocument/2006/relationships/image" Target="../media/image114.png"/><Relationship Id="rId7" Type="http://schemas.openxmlformats.org/officeDocument/2006/relationships/image" Target="../media/image118.png"/><Relationship Id="rId12" Type="http://schemas.openxmlformats.org/officeDocument/2006/relationships/image" Target="../media/image1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7.svg"/><Relationship Id="rId11" Type="http://schemas.openxmlformats.org/officeDocument/2006/relationships/image" Target="../media/image122.png"/><Relationship Id="rId5" Type="http://schemas.openxmlformats.org/officeDocument/2006/relationships/image" Target="../media/image116.png"/><Relationship Id="rId10" Type="http://schemas.openxmlformats.org/officeDocument/2006/relationships/image" Target="../media/image121.svg"/><Relationship Id="rId4" Type="http://schemas.openxmlformats.org/officeDocument/2006/relationships/image" Target="../media/image115.svg"/><Relationship Id="rId9" Type="http://schemas.openxmlformats.org/officeDocument/2006/relationships/image" Target="../media/image1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0" name="Google Shape;2010;p1"/>
          <p:cNvSpPr txBox="1">
            <a:spLocks noGrp="1"/>
          </p:cNvSpPr>
          <p:nvPr>
            <p:ph type="ctrTitle"/>
          </p:nvPr>
        </p:nvSpPr>
        <p:spPr>
          <a:xfrm>
            <a:off x="1350235" y="1568118"/>
            <a:ext cx="6157715" cy="857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>
              <a:buClr>
                <a:schemeClr val="accent1"/>
              </a:buClr>
              <a:buSzPts val="4100"/>
            </a:pPr>
            <a:r>
              <a:rPr lang="en-US">
                <a:solidFill>
                  <a:schemeClr val="accent1"/>
                </a:solidFill>
                <a:latin typeface="Aptos"/>
              </a:rPr>
              <a:t>We've Launched!  </a:t>
            </a:r>
          </a:p>
        </p:txBody>
      </p:sp>
      <p:sp>
        <p:nvSpPr>
          <p:cNvPr id="3" name="Google Shape;2010;p1">
            <a:extLst>
              <a:ext uri="{FF2B5EF4-FFF2-40B4-BE49-F238E27FC236}">
                <a16:creationId xmlns:a16="http://schemas.microsoft.com/office/drawing/2014/main" id="{DAB81882-B1C8-762A-DEE5-601A48F5B3BC}"/>
              </a:ext>
            </a:extLst>
          </p:cNvPr>
          <p:cNvSpPr txBox="1">
            <a:spLocks/>
          </p:cNvSpPr>
          <p:nvPr/>
        </p:nvSpPr>
        <p:spPr>
          <a:xfrm>
            <a:off x="1347276" y="2578693"/>
            <a:ext cx="9454367" cy="1493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chemeClr val="accent1"/>
              </a:buClr>
              <a:buSzPts val="4100"/>
            </a:pPr>
            <a:r>
              <a:rPr lang="en-US" sz="4100">
                <a:solidFill>
                  <a:schemeClr val="accent1"/>
                </a:solidFill>
                <a:latin typeface="Aptos"/>
              </a:rPr>
              <a:t>Getting our "Booties" to work with ESSI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AA6F95A4-E644-E141-85AC-FEE639D9083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8765667"/>
              </p:ext>
            </p:extLst>
          </p:nvPr>
        </p:nvGraphicFramePr>
        <p:xfrm>
          <a:off x="1102206" y="1502352"/>
          <a:ext cx="10260663" cy="52595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A4B5DC-0432-49B8-02DA-1B7242F7B8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8625FE-B64F-8473-62B7-FF30B54DF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38" name="Graphic 37" descr="Badge 1 with solid fill">
            <a:extLst>
              <a:ext uri="{FF2B5EF4-FFF2-40B4-BE49-F238E27FC236}">
                <a16:creationId xmlns:a16="http://schemas.microsoft.com/office/drawing/2014/main" id="{7280F87C-D391-AE08-9C9D-1DEC3C9E372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99972" y="1972791"/>
            <a:ext cx="1445490" cy="1445490"/>
          </a:xfrm>
          <a:prstGeom prst="rect">
            <a:avLst/>
          </a:prstGeom>
        </p:spPr>
      </p:pic>
      <p:pic>
        <p:nvPicPr>
          <p:cNvPr id="39" name="Graphic 38" descr="Badge with solid fill">
            <a:extLst>
              <a:ext uri="{FF2B5EF4-FFF2-40B4-BE49-F238E27FC236}">
                <a16:creationId xmlns:a16="http://schemas.microsoft.com/office/drawing/2014/main" id="{5C95010D-F147-72CD-70DB-706F39F6FFD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89173" y="1711094"/>
            <a:ext cx="1445490" cy="1445490"/>
          </a:xfrm>
          <a:prstGeom prst="rect">
            <a:avLst/>
          </a:prstGeom>
        </p:spPr>
      </p:pic>
      <p:pic>
        <p:nvPicPr>
          <p:cNvPr id="94" name="Graphic 93" descr="Badge 3 with solid fill">
            <a:extLst>
              <a:ext uri="{FF2B5EF4-FFF2-40B4-BE49-F238E27FC236}">
                <a16:creationId xmlns:a16="http://schemas.microsoft.com/office/drawing/2014/main" id="{F0171824-883A-E897-C316-FF24C292F29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99972" y="4373810"/>
            <a:ext cx="1445490" cy="1445490"/>
          </a:xfrm>
          <a:prstGeom prst="rect">
            <a:avLst/>
          </a:prstGeom>
        </p:spPr>
      </p:pic>
      <p:pic>
        <p:nvPicPr>
          <p:cNvPr id="95" name="Graphic 94" descr="Badge 4 with solid fill">
            <a:extLst>
              <a:ext uri="{FF2B5EF4-FFF2-40B4-BE49-F238E27FC236}">
                <a16:creationId xmlns:a16="http://schemas.microsoft.com/office/drawing/2014/main" id="{307CCD85-F7F2-75D1-B7CB-F0F348C29BE7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496870" y="4373810"/>
            <a:ext cx="1445490" cy="1445490"/>
          </a:xfrm>
          <a:prstGeom prst="rect">
            <a:avLst/>
          </a:prstGeom>
        </p:spPr>
      </p:pic>
      <p:sp>
        <p:nvSpPr>
          <p:cNvPr id="27" name="TextBox 45">
            <a:extLst>
              <a:ext uri="{FF2B5EF4-FFF2-40B4-BE49-F238E27FC236}">
                <a16:creationId xmlns:a16="http://schemas.microsoft.com/office/drawing/2014/main" id="{880C80B2-984E-4C91-03F3-2781C2F14BCD}"/>
              </a:ext>
            </a:extLst>
          </p:cNvPr>
          <p:cNvSpPr txBox="1"/>
          <p:nvPr/>
        </p:nvSpPr>
        <p:spPr>
          <a:xfrm>
            <a:off x="229590" y="543227"/>
            <a:ext cx="11352810" cy="10634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640"/>
              </a:lnSpc>
            </a:pPr>
            <a:r>
              <a:rPr lang="en-US" sz="3600" b="1" dirty="0">
                <a:latin typeface="DM Sans"/>
              </a:rPr>
              <a:t>Getting to </a:t>
            </a:r>
            <a:r>
              <a:rPr lang="en-US" sz="3600" b="1" dirty="0">
                <a:solidFill>
                  <a:srgbClr val="00B050"/>
                </a:solidFill>
                <a:latin typeface="DM Sans"/>
              </a:rPr>
              <a:t>GREEN:</a:t>
            </a:r>
          </a:p>
          <a:p>
            <a:pPr>
              <a:lnSpc>
                <a:spcPts val="2640"/>
              </a:lnSpc>
            </a:pPr>
            <a:endParaRPr lang="en-US" sz="4000" b="1" dirty="0">
              <a:solidFill>
                <a:srgbClr val="00B050"/>
              </a:solidFill>
              <a:latin typeface="DM Sans"/>
            </a:endParaRPr>
          </a:p>
          <a:p>
            <a:pPr>
              <a:lnSpc>
                <a:spcPts val="2640"/>
              </a:lnSpc>
            </a:pPr>
            <a:r>
              <a:rPr lang="en-US" sz="3600" b="1" dirty="0">
                <a:solidFill>
                  <a:srgbClr val="00B050"/>
                </a:solidFill>
                <a:latin typeface="DM Sans"/>
              </a:rPr>
              <a:t>Equitable and Respectful Care Education</a:t>
            </a:r>
          </a:p>
        </p:txBody>
      </p:sp>
    </p:spTree>
    <p:extLst>
      <p:ext uri="{BB962C8B-B14F-4D97-AF65-F5344CB8AC3E}">
        <p14:creationId xmlns:p14="http://schemas.microsoft.com/office/powerpoint/2010/main" val="28069319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482E130-D037-D866-0F9C-4D986C06DA03}"/>
              </a:ext>
            </a:extLst>
          </p:cNvPr>
          <p:cNvSpPr/>
          <p:nvPr/>
        </p:nvSpPr>
        <p:spPr>
          <a:xfrm>
            <a:off x="6895352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13352" y="69498"/>
            <a:ext cx="11574869" cy="6558148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TextBox 3"/>
          <p:cNvSpPr txBox="1"/>
          <p:nvPr/>
        </p:nvSpPr>
        <p:spPr>
          <a:xfrm>
            <a:off x="2107395" y="510585"/>
            <a:ext cx="7967582" cy="76944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500" b="1" dirty="0">
                <a:solidFill>
                  <a:srgbClr val="813158"/>
                </a:solidFill>
                <a:latin typeface="Aptos Display"/>
              </a:rPr>
              <a:t>Standardized Provider and Hospital Staff Equitable and Respectful Care Education</a:t>
            </a:r>
            <a:endParaRPr lang="en-US" sz="2500" dirty="0">
              <a:cs typeface="Arial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2161998" y="6091889"/>
            <a:ext cx="8390915" cy="87793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680"/>
              </a:lnSpc>
            </a:pPr>
            <a:r>
              <a:rPr lang="en-US" sz="1700" b="1">
                <a:solidFill>
                  <a:srgbClr val="813158"/>
                </a:solidFill>
                <a:latin typeface="Aptos Display"/>
              </a:rPr>
              <a:t>Hospital has standardized provider and hospital staff education about listening to parents and caregivers, providing respectful care and building trust, addressing implicit bias and engaging in anti-racism.</a:t>
            </a:r>
          </a:p>
          <a:p>
            <a:pPr algn="ctr">
              <a:lnSpc>
                <a:spcPts val="1680"/>
              </a:lnSpc>
            </a:pPr>
            <a:endParaRPr lang="en-US" sz="1700" b="1">
              <a:solidFill>
                <a:srgbClr val="813158"/>
              </a:solidFill>
              <a:latin typeface="Aptos Display"/>
            </a:endParaRPr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2" t="10938" r="-115" b="10068"/>
          <a:stretch/>
        </p:blipFill>
        <p:spPr>
          <a:xfrm>
            <a:off x="2107395" y="1337515"/>
            <a:ext cx="8185357" cy="4759610"/>
          </a:xfrm>
          <a:prstGeom prst="rect">
            <a:avLst/>
          </a:prstGeom>
        </p:spPr>
      </p:pic>
      <p:sp>
        <p:nvSpPr>
          <p:cNvPr id="8" name="Freeform 8"/>
          <p:cNvSpPr/>
          <p:nvPr/>
        </p:nvSpPr>
        <p:spPr>
          <a:xfrm>
            <a:off x="364620" y="685801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pic>
        <p:nvPicPr>
          <p:cNvPr id="9" name="Picture 8" descr="A person pointing at a heart&#10;&#10;Description automatically generated">
            <a:extLst>
              <a:ext uri="{FF2B5EF4-FFF2-40B4-BE49-F238E27FC236}">
                <a16:creationId xmlns:a16="http://schemas.microsoft.com/office/drawing/2014/main" id="{A6A9E9D8-F8DF-2349-A93B-BA712719A29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352" y="2708413"/>
            <a:ext cx="2160501" cy="2310828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323CD177-888D-7ED2-F56A-3F40811997CF}"/>
              </a:ext>
            </a:extLst>
          </p:cNvPr>
          <p:cNvSpPr txBox="1"/>
          <p:nvPr/>
        </p:nvSpPr>
        <p:spPr>
          <a:xfrm>
            <a:off x="9966497" y="2845610"/>
            <a:ext cx="2082696" cy="17260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813158"/>
                </a:solidFill>
                <a:latin typeface="Aptos Display"/>
              </a:rPr>
              <a:t>33 hospitals have this measure in place!</a:t>
            </a:r>
            <a:endParaRPr lang="en-US" sz="2400" dirty="0">
              <a:latin typeface="Aptos Display"/>
            </a:endParaRPr>
          </a:p>
          <a:p>
            <a:pPr>
              <a:lnSpc>
                <a:spcPts val="1680"/>
              </a:lnSpc>
            </a:pPr>
            <a:endParaRPr lang="en-US" sz="2400" b="1" dirty="0">
              <a:solidFill>
                <a:srgbClr val="813158"/>
              </a:solidFill>
              <a:latin typeface="Aptos Display"/>
            </a:endParaRPr>
          </a:p>
        </p:txBody>
      </p:sp>
    </p:spTree>
    <p:extLst>
      <p:ext uri="{BB962C8B-B14F-4D97-AF65-F5344CB8AC3E}">
        <p14:creationId xmlns:p14="http://schemas.microsoft.com/office/powerpoint/2010/main" val="40876452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2649224-C8C0-49FD-9972-E65349FB8792}"/>
              </a:ext>
            </a:extLst>
          </p:cNvPr>
          <p:cNvSpPr/>
          <p:nvPr/>
        </p:nvSpPr>
        <p:spPr>
          <a:xfrm>
            <a:off x="6895352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TextBox 3"/>
          <p:cNvSpPr txBox="1"/>
          <p:nvPr/>
        </p:nvSpPr>
        <p:spPr>
          <a:xfrm>
            <a:off x="1366852" y="492082"/>
            <a:ext cx="9320865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600"/>
              </a:lnSpc>
            </a:pPr>
            <a:r>
              <a:rPr lang="en-US" sz="3000" b="1" dirty="0">
                <a:solidFill>
                  <a:srgbClr val="813158"/>
                </a:solidFill>
                <a:latin typeface="Aptos"/>
              </a:rPr>
              <a:t>Equitable and Respectful Care Education Completion by Discipline</a:t>
            </a:r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" t="12376" r="7730" b="14025"/>
          <a:stretch/>
        </p:blipFill>
        <p:spPr>
          <a:xfrm>
            <a:off x="347862" y="1206330"/>
            <a:ext cx="11111941" cy="4855263"/>
          </a:xfrm>
          <a:prstGeom prst="rect">
            <a:avLst/>
          </a:prstGeom>
        </p:spPr>
      </p:pic>
      <p:sp>
        <p:nvSpPr>
          <p:cNvPr id="8" name="TextBox 8"/>
          <p:cNvSpPr txBox="1"/>
          <p:nvPr/>
        </p:nvSpPr>
        <p:spPr>
          <a:xfrm rot="16200000">
            <a:off x="-644475" y="3434933"/>
            <a:ext cx="3045351" cy="3980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199"/>
              </a:lnSpc>
            </a:pPr>
            <a:r>
              <a:rPr lang="en-US" sz="2650" b="1">
                <a:solidFill>
                  <a:srgbClr val="813158"/>
                </a:solidFill>
                <a:latin typeface="Aptos"/>
              </a:rPr>
              <a:t>% Staff Educat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DAFDABE-A5E1-C8DE-A764-6862008FF2AF}"/>
              </a:ext>
            </a:extLst>
          </p:cNvPr>
          <p:cNvSpPr/>
          <p:nvPr/>
        </p:nvSpPr>
        <p:spPr>
          <a:xfrm>
            <a:off x="10235258" y="1228774"/>
            <a:ext cx="794926" cy="484758"/>
          </a:xfrm>
          <a:prstGeom prst="rect">
            <a:avLst/>
          </a:prstGeom>
          <a:solidFill>
            <a:srgbClr val="F2F9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  <p:sp>
        <p:nvSpPr>
          <p:cNvPr id="14" name="Freeform 8">
            <a:extLst>
              <a:ext uri="{FF2B5EF4-FFF2-40B4-BE49-F238E27FC236}">
                <a16:creationId xmlns:a16="http://schemas.microsoft.com/office/drawing/2014/main" id="{B8954835-B8AF-D74E-C2A3-2BAB1C422093}"/>
              </a:ext>
            </a:extLst>
          </p:cNvPr>
          <p:cNvSpPr/>
          <p:nvPr/>
        </p:nvSpPr>
        <p:spPr>
          <a:xfrm>
            <a:off x="10690879" y="1625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17DD62-1FDD-DB97-AEEF-74F594BB2201}"/>
              </a:ext>
            </a:extLst>
          </p:cNvPr>
          <p:cNvSpPr txBox="1"/>
          <p:nvPr/>
        </p:nvSpPr>
        <p:spPr>
          <a:xfrm>
            <a:off x="10316882" y="2390588"/>
            <a:ext cx="1419411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solidFill>
                  <a:srgbClr val="ED1A19"/>
                </a:solidFill>
                <a:latin typeface="Aptos Display"/>
              </a:rPr>
              <a:t>64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D47396-AB20-F2A2-FE16-12D90E9D2BE1}"/>
              </a:ext>
            </a:extLst>
          </p:cNvPr>
          <p:cNvSpPr txBox="1"/>
          <p:nvPr/>
        </p:nvSpPr>
        <p:spPr>
          <a:xfrm>
            <a:off x="8419277" y="3756165"/>
            <a:ext cx="3040526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rgbClr val="7B96E8"/>
                </a:solidFill>
                <a:latin typeface="Aptos Display"/>
              </a:rPr>
              <a:t>47%</a:t>
            </a:r>
            <a:r>
              <a:rPr lang="en-US" sz="1600" dirty="0">
                <a:latin typeface="Aptos Display"/>
              </a:rPr>
              <a:t> Hospital Staff</a:t>
            </a:r>
          </a:p>
          <a:p>
            <a:r>
              <a:rPr lang="en-US" sz="1600" b="1" dirty="0">
                <a:solidFill>
                  <a:srgbClr val="C45ED1"/>
                </a:solidFill>
                <a:latin typeface="Aptos Display"/>
              </a:rPr>
              <a:t>46%</a:t>
            </a:r>
            <a:r>
              <a:rPr lang="en-US" sz="1600" dirty="0">
                <a:latin typeface="Aptos Display"/>
              </a:rPr>
              <a:t> Physicians and Providers</a:t>
            </a:r>
          </a:p>
          <a:p>
            <a:r>
              <a:rPr lang="en-US" sz="1600" b="1" dirty="0">
                <a:solidFill>
                  <a:schemeClr val="tx1"/>
                </a:solidFill>
                <a:latin typeface="Aptos Display"/>
              </a:rPr>
              <a:t>44%</a:t>
            </a:r>
            <a:r>
              <a:rPr lang="en-US" sz="1600" dirty="0">
                <a:latin typeface="Aptos Display"/>
              </a:rPr>
              <a:t>  Ancillary Clinicians</a:t>
            </a:r>
          </a:p>
        </p:txBody>
      </p:sp>
    </p:spTree>
    <p:extLst>
      <p:ext uri="{BB962C8B-B14F-4D97-AF65-F5344CB8AC3E}">
        <p14:creationId xmlns:p14="http://schemas.microsoft.com/office/powerpoint/2010/main" val="465429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5609" y="-11854"/>
            <a:ext cx="12185891" cy="3440854"/>
            <a:chOff x="0" y="0"/>
            <a:chExt cx="61498202" cy="18166193"/>
          </a:xfrm>
        </p:grpSpPr>
        <p:sp>
          <p:nvSpPr>
            <p:cNvPr id="3" name="Freeform 3"/>
            <p:cNvSpPr/>
            <p:nvPr/>
          </p:nvSpPr>
          <p:spPr>
            <a:xfrm>
              <a:off x="72390" y="72390"/>
              <a:ext cx="61353423" cy="18021413"/>
            </a:xfrm>
            <a:custGeom>
              <a:avLst/>
              <a:gdLst/>
              <a:ahLst/>
              <a:cxnLst/>
              <a:rect l="l" t="t" r="r" b="b"/>
              <a:pathLst>
                <a:path w="61353423" h="18021413">
                  <a:moveTo>
                    <a:pt x="0" y="0"/>
                  </a:moveTo>
                  <a:lnTo>
                    <a:pt x="61353423" y="0"/>
                  </a:lnTo>
                  <a:lnTo>
                    <a:pt x="61353423" y="18021413"/>
                  </a:lnTo>
                  <a:lnTo>
                    <a:pt x="0" y="180214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9999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4" name="Freeform 4"/>
            <p:cNvSpPr/>
            <p:nvPr/>
          </p:nvSpPr>
          <p:spPr>
            <a:xfrm>
              <a:off x="0" y="0"/>
              <a:ext cx="61498200" cy="18166193"/>
            </a:xfrm>
            <a:custGeom>
              <a:avLst/>
              <a:gdLst/>
              <a:ahLst/>
              <a:cxnLst/>
              <a:rect l="l" t="t" r="r" b="b"/>
              <a:pathLst>
                <a:path w="61498200" h="18166193">
                  <a:moveTo>
                    <a:pt x="61353421" y="18021413"/>
                  </a:moveTo>
                  <a:lnTo>
                    <a:pt x="61498200" y="18021413"/>
                  </a:lnTo>
                  <a:lnTo>
                    <a:pt x="61498200" y="18166193"/>
                  </a:lnTo>
                  <a:lnTo>
                    <a:pt x="61353421" y="18166193"/>
                  </a:lnTo>
                  <a:lnTo>
                    <a:pt x="61353421" y="18021413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8021413"/>
                  </a:lnTo>
                  <a:lnTo>
                    <a:pt x="0" y="18021413"/>
                  </a:lnTo>
                  <a:lnTo>
                    <a:pt x="0" y="144780"/>
                  </a:lnTo>
                  <a:close/>
                  <a:moveTo>
                    <a:pt x="0" y="18021413"/>
                  </a:moveTo>
                  <a:lnTo>
                    <a:pt x="144780" y="18021413"/>
                  </a:lnTo>
                  <a:lnTo>
                    <a:pt x="144780" y="18166193"/>
                  </a:lnTo>
                  <a:lnTo>
                    <a:pt x="0" y="18166193"/>
                  </a:lnTo>
                  <a:lnTo>
                    <a:pt x="0" y="18021413"/>
                  </a:lnTo>
                  <a:close/>
                  <a:moveTo>
                    <a:pt x="61353421" y="144780"/>
                  </a:moveTo>
                  <a:lnTo>
                    <a:pt x="61498200" y="144780"/>
                  </a:lnTo>
                  <a:lnTo>
                    <a:pt x="61498200" y="18021413"/>
                  </a:lnTo>
                  <a:lnTo>
                    <a:pt x="61353421" y="18021413"/>
                  </a:lnTo>
                  <a:lnTo>
                    <a:pt x="61353421" y="144780"/>
                  </a:lnTo>
                  <a:close/>
                  <a:moveTo>
                    <a:pt x="144780" y="18021413"/>
                  </a:moveTo>
                  <a:lnTo>
                    <a:pt x="61353421" y="18021413"/>
                  </a:lnTo>
                  <a:lnTo>
                    <a:pt x="61353421" y="18166193"/>
                  </a:lnTo>
                  <a:lnTo>
                    <a:pt x="144780" y="18166193"/>
                  </a:lnTo>
                  <a:lnTo>
                    <a:pt x="144780" y="18021413"/>
                  </a:lnTo>
                  <a:close/>
                  <a:moveTo>
                    <a:pt x="61353421" y="0"/>
                  </a:moveTo>
                  <a:lnTo>
                    <a:pt x="61498200" y="0"/>
                  </a:lnTo>
                  <a:lnTo>
                    <a:pt x="61498200" y="144780"/>
                  </a:lnTo>
                  <a:lnTo>
                    <a:pt x="61353421" y="144780"/>
                  </a:lnTo>
                  <a:lnTo>
                    <a:pt x="61353421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61353421" y="0"/>
                  </a:lnTo>
                  <a:lnTo>
                    <a:pt x="61353421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0" y="0"/>
            <a:ext cx="6882835" cy="6858000"/>
            <a:chOff x="0" y="0"/>
            <a:chExt cx="23565285" cy="23480257"/>
          </a:xfrm>
        </p:grpSpPr>
        <p:sp>
          <p:nvSpPr>
            <p:cNvPr id="6" name="Freeform 6"/>
            <p:cNvSpPr/>
            <p:nvPr/>
          </p:nvSpPr>
          <p:spPr>
            <a:xfrm>
              <a:off x="72390" y="72390"/>
              <a:ext cx="23420506" cy="23335477"/>
            </a:xfrm>
            <a:custGeom>
              <a:avLst/>
              <a:gdLst/>
              <a:ahLst/>
              <a:cxnLst/>
              <a:rect l="l" t="t" r="r" b="b"/>
              <a:pathLst>
                <a:path w="23420506" h="23335477">
                  <a:moveTo>
                    <a:pt x="0" y="0"/>
                  </a:moveTo>
                  <a:lnTo>
                    <a:pt x="23420506" y="0"/>
                  </a:lnTo>
                  <a:lnTo>
                    <a:pt x="23420506" y="23335477"/>
                  </a:lnTo>
                  <a:lnTo>
                    <a:pt x="0" y="233354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8FEE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7" name="Freeform 7"/>
            <p:cNvSpPr/>
            <p:nvPr/>
          </p:nvSpPr>
          <p:spPr>
            <a:xfrm>
              <a:off x="0" y="0"/>
              <a:ext cx="23565286" cy="23480257"/>
            </a:xfrm>
            <a:custGeom>
              <a:avLst/>
              <a:gdLst/>
              <a:ahLst/>
              <a:cxnLst/>
              <a:rect l="l" t="t" r="r" b="b"/>
              <a:pathLst>
                <a:path w="23565286" h="23480257">
                  <a:moveTo>
                    <a:pt x="23420505" y="23335476"/>
                  </a:moveTo>
                  <a:lnTo>
                    <a:pt x="23565286" y="23335476"/>
                  </a:lnTo>
                  <a:lnTo>
                    <a:pt x="23565286" y="23480257"/>
                  </a:lnTo>
                  <a:lnTo>
                    <a:pt x="23420505" y="23480257"/>
                  </a:lnTo>
                  <a:lnTo>
                    <a:pt x="23420505" y="23335476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23335476"/>
                  </a:lnTo>
                  <a:lnTo>
                    <a:pt x="0" y="23335476"/>
                  </a:lnTo>
                  <a:lnTo>
                    <a:pt x="0" y="144780"/>
                  </a:lnTo>
                  <a:close/>
                  <a:moveTo>
                    <a:pt x="0" y="23335476"/>
                  </a:moveTo>
                  <a:lnTo>
                    <a:pt x="144780" y="23335476"/>
                  </a:lnTo>
                  <a:lnTo>
                    <a:pt x="144780" y="23480257"/>
                  </a:lnTo>
                  <a:lnTo>
                    <a:pt x="0" y="23480257"/>
                  </a:lnTo>
                  <a:lnTo>
                    <a:pt x="0" y="23335476"/>
                  </a:lnTo>
                  <a:close/>
                  <a:moveTo>
                    <a:pt x="23420505" y="144780"/>
                  </a:moveTo>
                  <a:lnTo>
                    <a:pt x="23565286" y="144780"/>
                  </a:lnTo>
                  <a:lnTo>
                    <a:pt x="23565286" y="23335476"/>
                  </a:lnTo>
                  <a:lnTo>
                    <a:pt x="23420505" y="23335476"/>
                  </a:lnTo>
                  <a:lnTo>
                    <a:pt x="23420505" y="144780"/>
                  </a:lnTo>
                  <a:close/>
                  <a:moveTo>
                    <a:pt x="144780" y="23335476"/>
                  </a:moveTo>
                  <a:lnTo>
                    <a:pt x="23420505" y="23335476"/>
                  </a:lnTo>
                  <a:lnTo>
                    <a:pt x="23420505" y="23480257"/>
                  </a:lnTo>
                  <a:lnTo>
                    <a:pt x="144780" y="23480257"/>
                  </a:lnTo>
                  <a:lnTo>
                    <a:pt x="144780" y="23335476"/>
                  </a:lnTo>
                  <a:close/>
                  <a:moveTo>
                    <a:pt x="23420505" y="0"/>
                  </a:moveTo>
                  <a:lnTo>
                    <a:pt x="23565286" y="0"/>
                  </a:lnTo>
                  <a:lnTo>
                    <a:pt x="23565286" y="144780"/>
                  </a:lnTo>
                  <a:lnTo>
                    <a:pt x="23420505" y="144780"/>
                  </a:lnTo>
                  <a:lnTo>
                    <a:pt x="23420505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23420505" y="0"/>
                  </a:lnTo>
                  <a:lnTo>
                    <a:pt x="23420505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8" name="Freeform 8"/>
          <p:cNvSpPr/>
          <p:nvPr/>
        </p:nvSpPr>
        <p:spPr>
          <a:xfrm>
            <a:off x="8151678" y="0"/>
            <a:ext cx="2910364" cy="3429000"/>
          </a:xfrm>
          <a:custGeom>
            <a:avLst/>
            <a:gdLst/>
            <a:ahLst/>
            <a:cxnLst/>
            <a:rect l="l" t="t" r="r" b="b"/>
            <a:pathLst>
              <a:path w="4365546" h="5143500">
                <a:moveTo>
                  <a:pt x="0" y="0"/>
                </a:moveTo>
                <a:lnTo>
                  <a:pt x="4365546" y="0"/>
                </a:lnTo>
                <a:lnTo>
                  <a:pt x="4365546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9" name="Freeform 9"/>
          <p:cNvSpPr/>
          <p:nvPr/>
        </p:nvSpPr>
        <p:spPr>
          <a:xfrm>
            <a:off x="190804" y="178387"/>
            <a:ext cx="6501227" cy="6501227"/>
          </a:xfrm>
          <a:custGeom>
            <a:avLst/>
            <a:gdLst/>
            <a:ahLst/>
            <a:cxnLst/>
            <a:rect l="l" t="t" r="r" b="b"/>
            <a:pathLst>
              <a:path w="9751840" h="9751840">
                <a:moveTo>
                  <a:pt x="0" y="0"/>
                </a:moveTo>
                <a:lnTo>
                  <a:pt x="9751840" y="0"/>
                </a:lnTo>
                <a:lnTo>
                  <a:pt x="9751840" y="9751840"/>
                </a:lnTo>
                <a:lnTo>
                  <a:pt x="0" y="9751840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grpSp>
        <p:nvGrpSpPr>
          <p:cNvPr id="10" name="Group 10"/>
          <p:cNvGrpSpPr/>
          <p:nvPr/>
        </p:nvGrpSpPr>
        <p:grpSpPr>
          <a:xfrm>
            <a:off x="191358" y="3731153"/>
            <a:ext cx="6508144" cy="2936475"/>
            <a:chOff x="0" y="0"/>
            <a:chExt cx="2568386" cy="334042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2568386" cy="334042"/>
            </a:xfrm>
            <a:custGeom>
              <a:avLst/>
              <a:gdLst/>
              <a:ahLst/>
              <a:cxnLst/>
              <a:rect l="l" t="t" r="r" b="b"/>
              <a:pathLst>
                <a:path w="2568386" h="334042">
                  <a:moveTo>
                    <a:pt x="0" y="0"/>
                  </a:moveTo>
                  <a:lnTo>
                    <a:pt x="2568386" y="0"/>
                  </a:lnTo>
                  <a:lnTo>
                    <a:pt x="2568386" y="334042"/>
                  </a:lnTo>
                  <a:lnTo>
                    <a:pt x="0" y="334042"/>
                  </a:lnTo>
                  <a:close/>
                </a:path>
              </a:pathLst>
            </a:custGeom>
            <a:solidFill>
              <a:srgbClr val="C0414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12" name="TextBox 12"/>
            <p:cNvSpPr txBox="1"/>
            <p:nvPr/>
          </p:nvSpPr>
          <p:spPr>
            <a:xfrm>
              <a:off x="0" y="-38100"/>
              <a:ext cx="2568386" cy="372142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sp>
        <p:nvSpPr>
          <p:cNvPr id="13" name="TextBox 13"/>
          <p:cNvSpPr txBox="1"/>
          <p:nvPr/>
        </p:nvSpPr>
        <p:spPr>
          <a:xfrm>
            <a:off x="296929" y="4677794"/>
            <a:ext cx="6056005" cy="116955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800" dirty="0">
                <a:solidFill>
                  <a:srgbClr val="F8FEEF"/>
                </a:solidFill>
                <a:latin typeface="Aptos Display"/>
              </a:rPr>
              <a:t>60 Hospitals have a PQI Speak Up Champion!</a:t>
            </a:r>
            <a:endParaRPr lang="en-US" dirty="0"/>
          </a:p>
        </p:txBody>
      </p:sp>
      <p:sp>
        <p:nvSpPr>
          <p:cNvPr id="14" name="TextBox 14"/>
          <p:cNvSpPr txBox="1"/>
          <p:nvPr/>
        </p:nvSpPr>
        <p:spPr>
          <a:xfrm>
            <a:off x="7312480" y="3552630"/>
            <a:ext cx="4193720" cy="136370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699"/>
              </a:lnSpc>
            </a:pPr>
            <a:r>
              <a:rPr lang="en-US" sz="1900" dirty="0">
                <a:solidFill>
                  <a:srgbClr val="000000"/>
                </a:solidFill>
                <a:latin typeface="Aptos Display"/>
              </a:rPr>
              <a:t>ILPQC still has seats remaining for PQI’s Speak Up Training </a:t>
            </a:r>
            <a:r>
              <a:rPr lang="en-US" sz="1900" b="1" dirty="0">
                <a:solidFill>
                  <a:srgbClr val="000000"/>
                </a:solidFill>
                <a:latin typeface="Aptos Display"/>
              </a:rPr>
              <a:t>June 14th and June 21st.</a:t>
            </a:r>
            <a:r>
              <a:rPr lang="en-US" sz="1900" dirty="0">
                <a:solidFill>
                  <a:srgbClr val="000000"/>
                </a:solidFill>
                <a:latin typeface="Aptos Display"/>
              </a:rPr>
              <a:t> To register, please contact </a:t>
            </a:r>
            <a:r>
              <a:rPr lang="en-US" sz="1900" dirty="0">
                <a:solidFill>
                  <a:srgbClr val="000000"/>
                </a:solidFill>
                <a:latin typeface="Aptos Display"/>
                <a:hlinkClick r:id="rId5"/>
              </a:rPr>
              <a:t>kmoreno@northshore.org</a:t>
            </a:r>
            <a:r>
              <a:rPr lang="en-US" sz="1900" dirty="0">
                <a:solidFill>
                  <a:srgbClr val="000000"/>
                </a:solidFill>
                <a:latin typeface="Aptos Display"/>
              </a:rPr>
              <a:t> </a:t>
            </a:r>
            <a:endParaRPr lang="en-US" dirty="0">
              <a:latin typeface="Aptos Display"/>
            </a:endParaRPr>
          </a:p>
        </p:txBody>
      </p:sp>
      <p:sp>
        <p:nvSpPr>
          <p:cNvPr id="15" name="Freeform 15"/>
          <p:cNvSpPr/>
          <p:nvPr/>
        </p:nvSpPr>
        <p:spPr>
          <a:xfrm>
            <a:off x="7312480" y="5343844"/>
            <a:ext cx="1335769" cy="1335769"/>
          </a:xfrm>
          <a:custGeom>
            <a:avLst/>
            <a:gdLst/>
            <a:ahLst/>
            <a:cxnLst/>
            <a:rect l="l" t="t" r="r" b="b"/>
            <a:pathLst>
              <a:path w="2003654" h="2003654">
                <a:moveTo>
                  <a:pt x="0" y="0"/>
                </a:moveTo>
                <a:lnTo>
                  <a:pt x="2003654" y="0"/>
                </a:lnTo>
                <a:lnTo>
                  <a:pt x="2003654" y="2003654"/>
                </a:lnTo>
                <a:lnTo>
                  <a:pt x="0" y="2003654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alphaModFix amt="63000"/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16" name="Freeform 16"/>
          <p:cNvSpPr/>
          <p:nvPr/>
        </p:nvSpPr>
        <p:spPr>
          <a:xfrm>
            <a:off x="9080049" y="5560605"/>
            <a:ext cx="1255300" cy="902247"/>
          </a:xfrm>
          <a:custGeom>
            <a:avLst/>
            <a:gdLst/>
            <a:ahLst/>
            <a:cxnLst/>
            <a:rect l="l" t="t" r="r" b="b"/>
            <a:pathLst>
              <a:path w="1882950" h="1353370">
                <a:moveTo>
                  <a:pt x="0" y="0"/>
                </a:moveTo>
                <a:lnTo>
                  <a:pt x="1882950" y="0"/>
                </a:lnTo>
                <a:lnTo>
                  <a:pt x="1882950" y="1353370"/>
                </a:lnTo>
                <a:lnTo>
                  <a:pt x="0" y="1353370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alphaModFix amt="76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17" name="Freeform 17"/>
          <p:cNvSpPr/>
          <p:nvPr/>
        </p:nvSpPr>
        <p:spPr>
          <a:xfrm>
            <a:off x="10753388" y="5514865"/>
            <a:ext cx="1110311" cy="993728"/>
          </a:xfrm>
          <a:custGeom>
            <a:avLst/>
            <a:gdLst/>
            <a:ahLst/>
            <a:cxnLst/>
            <a:rect l="l" t="t" r="r" b="b"/>
            <a:pathLst>
              <a:path w="1665466" h="1490592">
                <a:moveTo>
                  <a:pt x="0" y="0"/>
                </a:moveTo>
                <a:lnTo>
                  <a:pt x="1665465" y="0"/>
                </a:lnTo>
                <a:lnTo>
                  <a:pt x="1665465" y="1490592"/>
                </a:lnTo>
                <a:lnTo>
                  <a:pt x="0" y="1490592"/>
                </a:lnTo>
                <a:lnTo>
                  <a:pt x="0" y="0"/>
                </a:lnTo>
                <a:close/>
              </a:path>
            </a:pathLst>
          </a:custGeom>
          <a:blipFill>
            <a:blip r:embed="rId10" cstate="email">
              <a:alphaModFix amt="79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7841660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5609" y="-19324"/>
            <a:ext cx="12178421" cy="3448324"/>
            <a:chOff x="0" y="0"/>
            <a:chExt cx="61498202" cy="18166193"/>
          </a:xfrm>
        </p:grpSpPr>
        <p:sp>
          <p:nvSpPr>
            <p:cNvPr id="3" name="Freeform 3"/>
            <p:cNvSpPr/>
            <p:nvPr/>
          </p:nvSpPr>
          <p:spPr>
            <a:xfrm>
              <a:off x="72390" y="72390"/>
              <a:ext cx="61353423" cy="18021413"/>
            </a:xfrm>
            <a:custGeom>
              <a:avLst/>
              <a:gdLst/>
              <a:ahLst/>
              <a:cxnLst/>
              <a:rect l="l" t="t" r="r" b="b"/>
              <a:pathLst>
                <a:path w="61353423" h="18021413">
                  <a:moveTo>
                    <a:pt x="0" y="0"/>
                  </a:moveTo>
                  <a:lnTo>
                    <a:pt x="61353423" y="0"/>
                  </a:lnTo>
                  <a:lnTo>
                    <a:pt x="61353423" y="18021413"/>
                  </a:lnTo>
                  <a:lnTo>
                    <a:pt x="0" y="180214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4" name="Freeform 4"/>
            <p:cNvSpPr/>
            <p:nvPr/>
          </p:nvSpPr>
          <p:spPr>
            <a:xfrm>
              <a:off x="0" y="0"/>
              <a:ext cx="61498200" cy="18166193"/>
            </a:xfrm>
            <a:custGeom>
              <a:avLst/>
              <a:gdLst/>
              <a:ahLst/>
              <a:cxnLst/>
              <a:rect l="l" t="t" r="r" b="b"/>
              <a:pathLst>
                <a:path w="61498200" h="18166193">
                  <a:moveTo>
                    <a:pt x="61353421" y="18021413"/>
                  </a:moveTo>
                  <a:lnTo>
                    <a:pt x="61498200" y="18021413"/>
                  </a:lnTo>
                  <a:lnTo>
                    <a:pt x="61498200" y="18166193"/>
                  </a:lnTo>
                  <a:lnTo>
                    <a:pt x="61353421" y="18166193"/>
                  </a:lnTo>
                  <a:lnTo>
                    <a:pt x="61353421" y="18021413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8021413"/>
                  </a:lnTo>
                  <a:lnTo>
                    <a:pt x="0" y="18021413"/>
                  </a:lnTo>
                  <a:lnTo>
                    <a:pt x="0" y="144780"/>
                  </a:lnTo>
                  <a:close/>
                  <a:moveTo>
                    <a:pt x="0" y="18021413"/>
                  </a:moveTo>
                  <a:lnTo>
                    <a:pt x="144780" y="18021413"/>
                  </a:lnTo>
                  <a:lnTo>
                    <a:pt x="144780" y="18166193"/>
                  </a:lnTo>
                  <a:lnTo>
                    <a:pt x="0" y="18166193"/>
                  </a:lnTo>
                  <a:lnTo>
                    <a:pt x="0" y="18021413"/>
                  </a:lnTo>
                  <a:close/>
                  <a:moveTo>
                    <a:pt x="61353421" y="144780"/>
                  </a:moveTo>
                  <a:lnTo>
                    <a:pt x="61498200" y="144780"/>
                  </a:lnTo>
                  <a:lnTo>
                    <a:pt x="61498200" y="18021413"/>
                  </a:lnTo>
                  <a:lnTo>
                    <a:pt x="61353421" y="18021413"/>
                  </a:lnTo>
                  <a:lnTo>
                    <a:pt x="61353421" y="144780"/>
                  </a:lnTo>
                  <a:close/>
                  <a:moveTo>
                    <a:pt x="144780" y="18021413"/>
                  </a:moveTo>
                  <a:lnTo>
                    <a:pt x="61353421" y="18021413"/>
                  </a:lnTo>
                  <a:lnTo>
                    <a:pt x="61353421" y="18166193"/>
                  </a:lnTo>
                  <a:lnTo>
                    <a:pt x="144780" y="18166193"/>
                  </a:lnTo>
                  <a:lnTo>
                    <a:pt x="144780" y="18021413"/>
                  </a:lnTo>
                  <a:close/>
                  <a:moveTo>
                    <a:pt x="61353421" y="0"/>
                  </a:moveTo>
                  <a:lnTo>
                    <a:pt x="61498200" y="0"/>
                  </a:lnTo>
                  <a:lnTo>
                    <a:pt x="61498200" y="144780"/>
                  </a:lnTo>
                  <a:lnTo>
                    <a:pt x="61353421" y="144780"/>
                  </a:lnTo>
                  <a:lnTo>
                    <a:pt x="61353421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61353421" y="0"/>
                  </a:lnTo>
                  <a:lnTo>
                    <a:pt x="61353421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5" name="Freeform 5"/>
          <p:cNvSpPr/>
          <p:nvPr/>
        </p:nvSpPr>
        <p:spPr>
          <a:xfrm>
            <a:off x="8005932" y="3429000"/>
            <a:ext cx="2929524" cy="3451575"/>
          </a:xfrm>
          <a:custGeom>
            <a:avLst/>
            <a:gdLst/>
            <a:ahLst/>
            <a:cxnLst/>
            <a:rect l="l" t="t" r="r" b="b"/>
            <a:pathLst>
              <a:path w="4394286" h="5177362">
                <a:moveTo>
                  <a:pt x="0" y="0"/>
                </a:moveTo>
                <a:lnTo>
                  <a:pt x="4394286" y="0"/>
                </a:lnTo>
                <a:lnTo>
                  <a:pt x="4394286" y="5177362"/>
                </a:lnTo>
                <a:lnTo>
                  <a:pt x="0" y="5177362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6" name="Freeform 6"/>
          <p:cNvSpPr/>
          <p:nvPr/>
        </p:nvSpPr>
        <p:spPr>
          <a:xfrm>
            <a:off x="0" y="-19324"/>
            <a:ext cx="6858000" cy="6858000"/>
          </a:xfrm>
          <a:custGeom>
            <a:avLst/>
            <a:gdLst/>
            <a:ahLst/>
            <a:cxnLst/>
            <a:rect l="l" t="t" r="r" b="b"/>
            <a:pathLst>
              <a:path w="10287000" h="10287000">
                <a:moveTo>
                  <a:pt x="0" y="0"/>
                </a:moveTo>
                <a:lnTo>
                  <a:pt x="10287000" y="0"/>
                </a:lnTo>
                <a:lnTo>
                  <a:pt x="10287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7" name="Freeform 7"/>
          <p:cNvSpPr/>
          <p:nvPr/>
        </p:nvSpPr>
        <p:spPr>
          <a:xfrm>
            <a:off x="7338048" y="876336"/>
            <a:ext cx="1335769" cy="1335769"/>
          </a:xfrm>
          <a:custGeom>
            <a:avLst/>
            <a:gdLst/>
            <a:ahLst/>
            <a:cxnLst/>
            <a:rect l="l" t="t" r="r" b="b"/>
            <a:pathLst>
              <a:path w="2003654" h="2003654">
                <a:moveTo>
                  <a:pt x="0" y="0"/>
                </a:moveTo>
                <a:lnTo>
                  <a:pt x="2003654" y="0"/>
                </a:lnTo>
                <a:lnTo>
                  <a:pt x="2003654" y="2003654"/>
                </a:lnTo>
                <a:lnTo>
                  <a:pt x="0" y="2003654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8" name="Freeform 8"/>
          <p:cNvSpPr/>
          <p:nvPr/>
        </p:nvSpPr>
        <p:spPr>
          <a:xfrm>
            <a:off x="10572657" y="2057400"/>
            <a:ext cx="1360615" cy="1217750"/>
          </a:xfrm>
          <a:custGeom>
            <a:avLst/>
            <a:gdLst/>
            <a:ahLst/>
            <a:cxnLst/>
            <a:rect l="l" t="t" r="r" b="b"/>
            <a:pathLst>
              <a:path w="2040922" h="1826625">
                <a:moveTo>
                  <a:pt x="0" y="0"/>
                </a:moveTo>
                <a:lnTo>
                  <a:pt x="2040922" y="0"/>
                </a:lnTo>
                <a:lnTo>
                  <a:pt x="2040922" y="1826625"/>
                </a:lnTo>
                <a:lnTo>
                  <a:pt x="0" y="1826625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9" name="Freeform 9"/>
          <p:cNvSpPr/>
          <p:nvPr/>
        </p:nvSpPr>
        <p:spPr>
          <a:xfrm>
            <a:off x="8856152" y="1544221"/>
            <a:ext cx="1457776" cy="1047777"/>
          </a:xfrm>
          <a:custGeom>
            <a:avLst/>
            <a:gdLst/>
            <a:ahLst/>
            <a:cxnLst/>
            <a:rect l="l" t="t" r="r" b="b"/>
            <a:pathLst>
              <a:path w="2186664" h="1571665">
                <a:moveTo>
                  <a:pt x="0" y="0"/>
                </a:moveTo>
                <a:lnTo>
                  <a:pt x="2186664" y="0"/>
                </a:lnTo>
                <a:lnTo>
                  <a:pt x="2186664" y="1571665"/>
                </a:lnTo>
                <a:lnTo>
                  <a:pt x="0" y="1571665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10" name="TextBox 10"/>
          <p:cNvSpPr txBox="1"/>
          <p:nvPr/>
        </p:nvSpPr>
        <p:spPr>
          <a:xfrm>
            <a:off x="6298903" y="243705"/>
            <a:ext cx="6223832" cy="4420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632"/>
              </a:lnSpc>
            </a:pPr>
            <a:r>
              <a:rPr lang="en-US" sz="2594">
                <a:solidFill>
                  <a:srgbClr val="AECADF"/>
                </a:solidFill>
                <a:latin typeface="Canva Sans Bold"/>
              </a:rPr>
              <a:t>UPCOMING OPPORTUNITY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6311603" y="250055"/>
            <a:ext cx="6223832" cy="4420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632"/>
              </a:lnSpc>
            </a:pPr>
            <a:r>
              <a:rPr lang="en-US" sz="2594">
                <a:solidFill>
                  <a:srgbClr val="AECADF"/>
                </a:solidFill>
                <a:latin typeface="Canva Sans Bold"/>
              </a:rPr>
              <a:t>UPCOMING OPPORTUNITY</a:t>
            </a:r>
          </a:p>
        </p:txBody>
      </p:sp>
    </p:spTree>
    <p:extLst>
      <p:ext uri="{BB962C8B-B14F-4D97-AF65-F5344CB8AC3E}">
        <p14:creationId xmlns:p14="http://schemas.microsoft.com/office/powerpoint/2010/main" val="39995039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ADC924-4113-8D8F-DE56-A34C94E60A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1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64C6FB-33F2-A830-6CF5-C81795FE6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65707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BCA8033-75D4-9FDD-5ADD-079F3E9C5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693" y="282893"/>
            <a:ext cx="10691907" cy="1325563"/>
          </a:xfrm>
        </p:spPr>
        <p:txBody>
          <a:bodyPr>
            <a:normAutofit/>
          </a:bodyPr>
          <a:lstStyle/>
          <a:p>
            <a:pPr>
              <a:lnSpc>
                <a:spcPts val="2640"/>
              </a:lnSpc>
            </a:pPr>
            <a:r>
              <a:rPr lang="en-US" sz="4000" b="1" dirty="0">
                <a:latin typeface="DM Sans"/>
              </a:rPr>
              <a:t>Getting to </a:t>
            </a:r>
            <a:r>
              <a:rPr lang="en-US" sz="4000" b="1" dirty="0">
                <a:solidFill>
                  <a:srgbClr val="00B050"/>
                </a:solidFill>
                <a:latin typeface="DM Sans"/>
              </a:rPr>
              <a:t>GREEN:</a:t>
            </a:r>
            <a:br>
              <a:rPr lang="en-US" sz="4000" b="1" dirty="0">
                <a:solidFill>
                  <a:srgbClr val="00B050"/>
                </a:solidFill>
                <a:latin typeface="DM Sans"/>
              </a:rPr>
            </a:br>
            <a:r>
              <a:rPr lang="en-US" sz="4000" b="1" dirty="0">
                <a:solidFill>
                  <a:srgbClr val="00B050"/>
                </a:solidFill>
                <a:latin typeface="DM Sans"/>
              </a:rPr>
              <a:t>Safe Sleep Environment Education</a:t>
            </a:r>
            <a:br>
              <a:rPr lang="en-US" sz="3200" b="1" dirty="0">
                <a:solidFill>
                  <a:srgbClr val="00B050"/>
                </a:solidFill>
                <a:latin typeface="DM Sans"/>
              </a:rPr>
            </a:br>
            <a:endParaRPr lang="en-US" sz="3200" dirty="0">
              <a:solidFill>
                <a:srgbClr val="00B050"/>
              </a:solidFill>
              <a:latin typeface="DM Sans"/>
            </a:endParaRPr>
          </a:p>
        </p:txBody>
      </p:sp>
      <p:graphicFrame>
        <p:nvGraphicFramePr>
          <p:cNvPr id="10" name="Content Placeholder 2">
            <a:extLst>
              <a:ext uri="{FF2B5EF4-FFF2-40B4-BE49-F238E27FC236}">
                <a16:creationId xmlns:a16="http://schemas.microsoft.com/office/drawing/2014/main" id="{AA6F95A4-E644-E141-85AC-FEE639D908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436395"/>
              </p:ext>
            </p:extLst>
          </p:nvPr>
        </p:nvGraphicFramePr>
        <p:xfrm>
          <a:off x="703050" y="1397017"/>
          <a:ext cx="10320057" cy="53528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6" name="TextBox 125">
            <a:extLst>
              <a:ext uri="{FF2B5EF4-FFF2-40B4-BE49-F238E27FC236}">
                <a16:creationId xmlns:a16="http://schemas.microsoft.com/office/drawing/2014/main" id="{9EEDF9AD-23FE-EC59-4406-70FEEA4D193D}"/>
              </a:ext>
            </a:extLst>
          </p:cNvPr>
          <p:cNvSpPr txBox="1"/>
          <p:nvPr/>
        </p:nvSpPr>
        <p:spPr>
          <a:xfrm>
            <a:off x="4063204" y="4782853"/>
            <a:ext cx="3373514" cy="1169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>
                <a:solidFill>
                  <a:srgbClr val="F66695"/>
                </a:solidFill>
                <a:latin typeface="DM Sans"/>
                <a:cs typeface="Calibri"/>
              </a:rPr>
              <a:t>Option 1:</a:t>
            </a:r>
            <a:r>
              <a:rPr lang="en-US" sz="1400">
                <a:latin typeface="DM Sans"/>
                <a:cs typeface="Calibri"/>
              </a:rPr>
              <a:t> E-Module updated with 2022 AAP Recommendations </a:t>
            </a:r>
            <a:endParaRPr lang="en-US" sz="1400">
              <a:latin typeface="DM Sans"/>
            </a:endParaRPr>
          </a:p>
          <a:p>
            <a:r>
              <a:rPr lang="en-US" sz="1400" b="1" i="1">
                <a:solidFill>
                  <a:srgbClr val="F66695"/>
                </a:solidFill>
                <a:latin typeface="DM Sans"/>
                <a:cs typeface="Calibri"/>
              </a:rPr>
              <a:t>Option 2:</a:t>
            </a:r>
            <a:r>
              <a:rPr lang="en-US" sz="1400" b="1" i="1">
                <a:latin typeface="DM Sans"/>
                <a:cs typeface="Calibri"/>
              </a:rPr>
              <a:t> </a:t>
            </a:r>
            <a:r>
              <a:rPr lang="en-US" sz="1400">
                <a:latin typeface="DM Sans"/>
                <a:cs typeface="Calibri"/>
              </a:rPr>
              <a:t>Complete Cribs for Kids Safe Sleep Ambassador Training</a:t>
            </a:r>
          </a:p>
          <a:p>
            <a:endParaRPr lang="en-US" sz="1400">
              <a:latin typeface="DM Sans"/>
              <a:cs typeface="Calibri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AA465D96-3354-0513-4FC1-C2673374A8C4}"/>
              </a:ext>
            </a:extLst>
          </p:cNvPr>
          <p:cNvSpPr txBox="1"/>
          <p:nvPr/>
        </p:nvSpPr>
        <p:spPr>
          <a:xfrm>
            <a:off x="6620576" y="2507719"/>
            <a:ext cx="3373514" cy="22467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>
                <a:solidFill>
                  <a:srgbClr val="F66695"/>
                </a:solidFill>
                <a:latin typeface="DM Sans"/>
                <a:ea typeface="+mn-lt"/>
                <a:cs typeface="+mn-lt"/>
              </a:rPr>
              <a:t>Crib </a:t>
            </a:r>
            <a:r>
              <a:rPr lang="en-US" sz="1400" b="1" dirty="0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Cards </a:t>
            </a:r>
            <a:endParaRPr lang="en-US" sz="1400" dirty="0">
              <a:solidFill>
                <a:srgbClr val="000000"/>
              </a:solidFill>
              <a:latin typeface="DM Sans"/>
              <a:ea typeface="+mn-lt"/>
              <a:cs typeface="+mn-lt"/>
            </a:endParaRPr>
          </a:p>
          <a:p>
            <a:r>
              <a:rPr lang="en-US" sz="1400" b="1" dirty="0">
                <a:solidFill>
                  <a:srgbClr val="F66695"/>
                </a:solidFill>
                <a:latin typeface="DM Sans"/>
                <a:cs typeface="Calibri"/>
              </a:rPr>
              <a:t>Crib </a:t>
            </a:r>
            <a:r>
              <a:rPr lang="en-US" sz="1400" b="1" dirty="0">
                <a:latin typeface="DM Sans"/>
                <a:cs typeface="Calibri"/>
              </a:rPr>
              <a:t>Audits </a:t>
            </a:r>
            <a:endParaRPr lang="en-US" dirty="0">
              <a:latin typeface="Aptos" panose="020B0004020202020204"/>
              <a:cs typeface="Calibri"/>
            </a:endParaRPr>
          </a:p>
          <a:p>
            <a:r>
              <a:rPr lang="en-US" sz="1400" b="1" dirty="0">
                <a:solidFill>
                  <a:srgbClr val="F5668F"/>
                </a:solidFill>
                <a:latin typeface="DM Sans"/>
                <a:cs typeface="Calibri"/>
              </a:rPr>
              <a:t>Media </a:t>
            </a:r>
            <a:r>
              <a:rPr lang="en-US" sz="1400" b="1" dirty="0">
                <a:latin typeface="DM Sans"/>
                <a:cs typeface="Calibri"/>
              </a:rPr>
              <a:t>Toolkits  </a:t>
            </a:r>
          </a:p>
          <a:p>
            <a:r>
              <a:rPr lang="en-US" sz="1400" b="1" dirty="0">
                <a:solidFill>
                  <a:srgbClr val="F5668F"/>
                </a:solidFill>
                <a:latin typeface="DM Sans"/>
                <a:cs typeface="Calibri"/>
              </a:rPr>
              <a:t>Sharing</a:t>
            </a:r>
            <a:r>
              <a:rPr lang="en-US" sz="1400" b="1" dirty="0">
                <a:latin typeface="DM Sans"/>
                <a:cs typeface="Calibri"/>
              </a:rPr>
              <a:t> Patient Stories</a:t>
            </a:r>
          </a:p>
          <a:p>
            <a:r>
              <a:rPr lang="en-US" sz="1400" b="1" dirty="0">
                <a:solidFill>
                  <a:srgbClr val="F5668F"/>
                </a:solidFill>
                <a:latin typeface="DM Sans"/>
                <a:cs typeface="Calibri"/>
              </a:rPr>
              <a:t>Risk</a:t>
            </a:r>
            <a:r>
              <a:rPr lang="en-US" sz="1400" b="1" dirty="0">
                <a:latin typeface="DM Sans"/>
                <a:cs typeface="Calibri"/>
              </a:rPr>
              <a:t> Reduction</a:t>
            </a:r>
          </a:p>
          <a:p>
            <a:r>
              <a:rPr lang="en-US" sz="1400" b="1" dirty="0">
                <a:solidFill>
                  <a:srgbClr val="F5668F"/>
                </a:solidFill>
                <a:latin typeface="DM Sans"/>
                <a:cs typeface="Calibri"/>
              </a:rPr>
              <a:t>Respectful</a:t>
            </a:r>
            <a:r>
              <a:rPr lang="en-US" sz="1400" b="1" dirty="0">
                <a:latin typeface="DM Sans"/>
                <a:cs typeface="Calibri"/>
              </a:rPr>
              <a:t> Conversations</a:t>
            </a:r>
          </a:p>
          <a:p>
            <a:endParaRPr lang="en-US" sz="1400" b="1" dirty="0">
              <a:latin typeface="DM Sans"/>
              <a:cs typeface="Calibri"/>
            </a:endParaRPr>
          </a:p>
          <a:p>
            <a:endParaRPr lang="en-US" sz="1400" b="1" dirty="0">
              <a:latin typeface="DM Sans"/>
              <a:cs typeface="Calibri"/>
            </a:endParaRPr>
          </a:p>
          <a:p>
            <a:endParaRPr lang="en-US" sz="1400" b="1" dirty="0">
              <a:latin typeface="DM Sans"/>
              <a:cs typeface="Calibri"/>
            </a:endParaRPr>
          </a:p>
          <a:p>
            <a:endParaRPr lang="en-US" sz="1400" dirty="0">
              <a:latin typeface="DM Sans"/>
              <a:cs typeface="Calibri"/>
            </a:endParaRPr>
          </a:p>
        </p:txBody>
      </p:sp>
      <p:pic>
        <p:nvPicPr>
          <p:cNvPr id="26" name="Graphic 25" descr="Badge 1 with solid fill">
            <a:extLst>
              <a:ext uri="{FF2B5EF4-FFF2-40B4-BE49-F238E27FC236}">
                <a16:creationId xmlns:a16="http://schemas.microsoft.com/office/drawing/2014/main" id="{840D0D8A-A220-186F-B18C-DF87FA1061F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15434" y="1580876"/>
            <a:ext cx="704574" cy="704574"/>
          </a:xfrm>
          <a:prstGeom prst="rect">
            <a:avLst/>
          </a:prstGeom>
        </p:spPr>
      </p:pic>
      <p:pic>
        <p:nvPicPr>
          <p:cNvPr id="107" name="Graphic 106" descr="Badge with solid fill">
            <a:extLst>
              <a:ext uri="{FF2B5EF4-FFF2-40B4-BE49-F238E27FC236}">
                <a16:creationId xmlns:a16="http://schemas.microsoft.com/office/drawing/2014/main" id="{1B9EB8B5-E019-63A1-0DAA-308E36403A48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01213" y="5916990"/>
            <a:ext cx="748748" cy="726662"/>
          </a:xfrm>
          <a:prstGeom prst="rect">
            <a:avLst/>
          </a:prstGeom>
        </p:spPr>
      </p:pic>
      <p:pic>
        <p:nvPicPr>
          <p:cNvPr id="129" name="Graphic 128" descr="Badge 3 with solid fill">
            <a:extLst>
              <a:ext uri="{FF2B5EF4-FFF2-40B4-BE49-F238E27FC236}">
                <a16:creationId xmlns:a16="http://schemas.microsoft.com/office/drawing/2014/main" id="{8CEB922A-4796-BA28-C017-78DF47A15BDE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67502" y="1604054"/>
            <a:ext cx="682487" cy="682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3877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y and purple wavy lines&#10;&#10;Description automatically generated">
            <a:extLst>
              <a:ext uri="{FF2B5EF4-FFF2-40B4-BE49-F238E27FC236}">
                <a16:creationId xmlns:a16="http://schemas.microsoft.com/office/drawing/2014/main" id="{98A984B5-36FC-40B0-3A96-C4A53F4B7EF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398" y="2380"/>
            <a:ext cx="12199775" cy="6861016"/>
          </a:xfrm>
          <a:prstGeom prst="rect">
            <a:avLst/>
          </a:prstGeom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14B2D-71E8-6A87-5308-3D3CF8BF9BAB}"/>
              </a:ext>
            </a:extLst>
          </p:cNvPr>
          <p:cNvSpPr txBox="1"/>
          <p:nvPr/>
        </p:nvSpPr>
        <p:spPr>
          <a:xfrm>
            <a:off x="2038905" y="204187"/>
            <a:ext cx="8469297" cy="553998"/>
          </a:xfrm>
          <a:prstGeom prst="rect">
            <a:avLst/>
          </a:prstGeom>
          <a:solidFill>
            <a:schemeClr val="bg1"/>
          </a:solidFill>
          <a:ln>
            <a:solidFill>
              <a:srgbClr val="1C498B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algn="ctr"/>
            <a:r>
              <a:rPr lang="en-US" sz="3000" b="1">
                <a:solidFill>
                  <a:srgbClr val="1C498B"/>
                </a:solidFill>
                <a:latin typeface="DM Sans"/>
              </a:rPr>
              <a:t>ESSI's Vision for Educ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B28D5DD-292B-0A2A-0FD1-C5DFE39B7ABD}"/>
              </a:ext>
            </a:extLst>
          </p:cNvPr>
          <p:cNvSpPr txBox="1"/>
          <p:nvPr/>
        </p:nvSpPr>
        <p:spPr>
          <a:xfrm>
            <a:off x="946950" y="924756"/>
            <a:ext cx="10298097" cy="646331"/>
          </a:xfrm>
          <a:prstGeom prst="rect">
            <a:avLst/>
          </a:prstGeom>
          <a:solidFill>
            <a:schemeClr val="bg1"/>
          </a:solidFill>
          <a:ln>
            <a:solidFill>
              <a:srgbClr val="1C498B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All health care providers and staff caring for infants less than one year old should receive initial and ongoing training on safe sleep practices.  </a:t>
            </a:r>
          </a:p>
        </p:txBody>
      </p:sp>
      <p:sp>
        <p:nvSpPr>
          <p:cNvPr id="12" name="Flowchart: Punched Tape 11">
            <a:extLst>
              <a:ext uri="{FF2B5EF4-FFF2-40B4-BE49-F238E27FC236}">
                <a16:creationId xmlns:a16="http://schemas.microsoft.com/office/drawing/2014/main" id="{7FB5525F-04F9-597A-77FB-3A756444F0A0}"/>
              </a:ext>
            </a:extLst>
          </p:cNvPr>
          <p:cNvSpPr/>
          <p:nvPr/>
        </p:nvSpPr>
        <p:spPr>
          <a:xfrm>
            <a:off x="7353670" y="1834717"/>
            <a:ext cx="4157708" cy="1760737"/>
          </a:xfrm>
          <a:prstGeom prst="flowChartPunchedTape">
            <a:avLst/>
          </a:prstGeom>
          <a:solidFill>
            <a:srgbClr val="F2E1E1"/>
          </a:solidFill>
          <a:ln>
            <a:solidFill>
              <a:srgbClr val="315D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6E38B8-29F7-C4FE-9904-E32696E6279F}"/>
              </a:ext>
            </a:extLst>
          </p:cNvPr>
          <p:cNvSpPr txBox="1"/>
          <p:nvPr/>
        </p:nvSpPr>
        <p:spPr>
          <a:xfrm>
            <a:off x="7449844" y="2189825"/>
            <a:ext cx="4083726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/>
              <a:t>Additional webinars, articles, and supplemental readings on NICU practices are recommended and available on ILPQC's ESSI Education Resources Document. </a:t>
            </a:r>
          </a:p>
        </p:txBody>
      </p:sp>
      <p:sp>
        <p:nvSpPr>
          <p:cNvPr id="14" name="Star: 5 Points 13">
            <a:extLst>
              <a:ext uri="{FF2B5EF4-FFF2-40B4-BE49-F238E27FC236}">
                <a16:creationId xmlns:a16="http://schemas.microsoft.com/office/drawing/2014/main" id="{9DFAC628-6C95-944C-CE45-27407A28EE11}"/>
              </a:ext>
            </a:extLst>
          </p:cNvPr>
          <p:cNvSpPr/>
          <p:nvPr/>
        </p:nvSpPr>
        <p:spPr>
          <a:xfrm>
            <a:off x="7146524" y="1775533"/>
            <a:ext cx="414291" cy="414291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screenshot of a medical information&#10;&#10;Description automatically generated">
            <a:extLst>
              <a:ext uri="{FF2B5EF4-FFF2-40B4-BE49-F238E27FC236}">
                <a16:creationId xmlns:a16="http://schemas.microsoft.com/office/drawing/2014/main" id="{898E0DE1-8AE0-E121-8537-AEE78ABE6C9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374" y="1836452"/>
            <a:ext cx="6781800" cy="4096792"/>
          </a:xfrm>
          <a:prstGeom prst="rect">
            <a:avLst/>
          </a:prstGeom>
        </p:spPr>
      </p:pic>
      <p:sp>
        <p:nvSpPr>
          <p:cNvPr id="13" name="Star: 5 Points 12">
            <a:extLst>
              <a:ext uri="{FF2B5EF4-FFF2-40B4-BE49-F238E27FC236}">
                <a16:creationId xmlns:a16="http://schemas.microsoft.com/office/drawing/2014/main" id="{3B5B097F-BCAC-A758-B0B6-33710A4F1CEA}"/>
              </a:ext>
            </a:extLst>
          </p:cNvPr>
          <p:cNvSpPr/>
          <p:nvPr/>
        </p:nvSpPr>
        <p:spPr>
          <a:xfrm>
            <a:off x="6276317" y="2573880"/>
            <a:ext cx="414291" cy="414291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F25B3E-8328-E3B5-FFAC-AA9F570BFDEE}"/>
              </a:ext>
            </a:extLst>
          </p:cNvPr>
          <p:cNvSpPr txBox="1"/>
          <p:nvPr/>
        </p:nvSpPr>
        <p:spPr>
          <a:xfrm>
            <a:off x="7734822" y="4028573"/>
            <a:ext cx="620038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solidFill>
                  <a:srgbClr val="F66695"/>
                </a:solidFill>
                <a:latin typeface="DM Sans"/>
                <a:ea typeface="+mn-lt"/>
                <a:cs typeface="+mn-lt"/>
              </a:rPr>
              <a:t>Crib </a:t>
            </a:r>
            <a:r>
              <a:rPr lang="en-US" sz="1800" b="1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Cards </a:t>
            </a:r>
            <a:endParaRPr lang="en-US" sz="1800">
              <a:solidFill>
                <a:srgbClr val="000000"/>
              </a:solidFill>
              <a:latin typeface="DM Sans"/>
              <a:ea typeface="+mn-lt"/>
              <a:cs typeface="+mn-lt"/>
            </a:endParaRPr>
          </a:p>
          <a:p>
            <a:r>
              <a:rPr lang="en-US" sz="1800" b="1">
                <a:solidFill>
                  <a:srgbClr val="F66695"/>
                </a:solidFill>
                <a:latin typeface="DM Sans"/>
                <a:cs typeface="Calibri"/>
              </a:rPr>
              <a:t>Crib </a:t>
            </a:r>
            <a:r>
              <a:rPr lang="en-US" sz="1800" b="1">
                <a:latin typeface="DM Sans"/>
                <a:cs typeface="Calibri"/>
              </a:rPr>
              <a:t>Audits </a:t>
            </a:r>
            <a:endParaRPr lang="en-US">
              <a:latin typeface="Aptos" panose="020B0004020202020204"/>
              <a:cs typeface="Calibri"/>
            </a:endParaRPr>
          </a:p>
          <a:p>
            <a:r>
              <a:rPr lang="en-US" sz="1800" b="1">
                <a:solidFill>
                  <a:srgbClr val="F5668F"/>
                </a:solidFill>
                <a:latin typeface="DM Sans"/>
                <a:cs typeface="Calibri"/>
              </a:rPr>
              <a:t>Media </a:t>
            </a:r>
            <a:r>
              <a:rPr lang="en-US" sz="1800" b="1">
                <a:latin typeface="DM Sans"/>
                <a:cs typeface="Calibri"/>
              </a:rPr>
              <a:t>Toolkits  </a:t>
            </a:r>
          </a:p>
          <a:p>
            <a:r>
              <a:rPr lang="en-US" sz="1800" b="1">
                <a:solidFill>
                  <a:srgbClr val="F5668F"/>
                </a:solidFill>
                <a:latin typeface="DM Sans"/>
                <a:cs typeface="Calibri"/>
              </a:rPr>
              <a:t>Sharing</a:t>
            </a:r>
            <a:r>
              <a:rPr lang="en-US" sz="1800" b="1">
                <a:latin typeface="DM Sans"/>
                <a:cs typeface="Calibri"/>
              </a:rPr>
              <a:t> Patient Stories</a:t>
            </a:r>
          </a:p>
          <a:p>
            <a:r>
              <a:rPr lang="en-US" sz="1800" b="1">
                <a:solidFill>
                  <a:srgbClr val="F5668F"/>
                </a:solidFill>
                <a:latin typeface="DM Sans"/>
                <a:cs typeface="Calibri"/>
              </a:rPr>
              <a:t>Risk</a:t>
            </a:r>
            <a:r>
              <a:rPr lang="en-US" sz="1800" b="1">
                <a:latin typeface="DM Sans"/>
                <a:cs typeface="Calibri"/>
              </a:rPr>
              <a:t> Reduction</a:t>
            </a:r>
          </a:p>
          <a:p>
            <a:r>
              <a:rPr lang="en-US" sz="1800" b="1">
                <a:solidFill>
                  <a:srgbClr val="F5668F"/>
                </a:solidFill>
                <a:latin typeface="DM Sans"/>
                <a:cs typeface="Calibri"/>
              </a:rPr>
              <a:t>Respectful</a:t>
            </a:r>
            <a:r>
              <a:rPr lang="en-US" sz="1800" b="1">
                <a:latin typeface="DM Sans"/>
                <a:cs typeface="Calibri"/>
              </a:rPr>
              <a:t> Conversations</a:t>
            </a:r>
          </a:p>
        </p:txBody>
      </p:sp>
      <p:sp>
        <p:nvSpPr>
          <p:cNvPr id="10" name="Star: 5 Points 12">
            <a:extLst>
              <a:ext uri="{FF2B5EF4-FFF2-40B4-BE49-F238E27FC236}">
                <a16:creationId xmlns:a16="http://schemas.microsoft.com/office/drawing/2014/main" id="{5C724327-9614-0DB0-A20D-6CB0F9967564}"/>
              </a:ext>
            </a:extLst>
          </p:cNvPr>
          <p:cNvSpPr/>
          <p:nvPr/>
        </p:nvSpPr>
        <p:spPr>
          <a:xfrm>
            <a:off x="7362493" y="3904351"/>
            <a:ext cx="414291" cy="414291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6901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C272E7A-23E0-DB50-701D-122DC495FA43}"/>
              </a:ext>
            </a:extLst>
          </p:cNvPr>
          <p:cNvSpPr/>
          <p:nvPr/>
        </p:nvSpPr>
        <p:spPr>
          <a:xfrm>
            <a:off x="6895352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418" y="196062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TextBox 3"/>
          <p:cNvSpPr txBox="1"/>
          <p:nvPr/>
        </p:nvSpPr>
        <p:spPr>
          <a:xfrm>
            <a:off x="1746353" y="694543"/>
            <a:ext cx="8947025" cy="974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840"/>
              </a:lnSpc>
            </a:pPr>
            <a:r>
              <a:rPr lang="en-US" sz="3200" b="1" dirty="0">
                <a:solidFill>
                  <a:srgbClr val="813158"/>
                </a:solidFill>
                <a:latin typeface="Aptos"/>
              </a:rPr>
              <a:t>Safe Sleep Education Completion by Discipline</a:t>
            </a:r>
          </a:p>
          <a:p>
            <a:pPr algn="ctr">
              <a:lnSpc>
                <a:spcPts val="3840"/>
              </a:lnSpc>
            </a:pPr>
            <a:endParaRPr lang="en-US" sz="3200" b="1" dirty="0">
              <a:solidFill>
                <a:srgbClr val="813158"/>
              </a:solidFill>
              <a:latin typeface="Aptos"/>
            </a:endParaRPr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30" t="13432" r="8902" b="12534"/>
          <a:stretch/>
        </p:blipFill>
        <p:spPr>
          <a:xfrm>
            <a:off x="1106605" y="1221590"/>
            <a:ext cx="10226522" cy="4883907"/>
          </a:xfrm>
          <a:prstGeom prst="rect">
            <a:avLst/>
          </a:prstGeom>
        </p:spPr>
      </p:pic>
      <p:sp>
        <p:nvSpPr>
          <p:cNvPr id="7" name="TextBox 7"/>
          <p:cNvSpPr txBox="1"/>
          <p:nvPr/>
        </p:nvSpPr>
        <p:spPr>
          <a:xfrm>
            <a:off x="1866771" y="6098177"/>
            <a:ext cx="9403042" cy="4678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760"/>
              </a:lnSpc>
            </a:pPr>
            <a:r>
              <a:rPr lang="en-US" sz="1800" b="1">
                <a:solidFill>
                  <a:srgbClr val="813158"/>
                </a:solidFill>
                <a:latin typeface="Aptos"/>
              </a:rPr>
              <a:t>Percentage of staff completing education about the importance of safe sleep and how to effectively educate parents or caregivers</a:t>
            </a:r>
          </a:p>
        </p:txBody>
      </p:sp>
      <p:sp>
        <p:nvSpPr>
          <p:cNvPr id="8" name="TextBox 8"/>
          <p:cNvSpPr txBox="1"/>
          <p:nvPr/>
        </p:nvSpPr>
        <p:spPr>
          <a:xfrm rot="16200000">
            <a:off x="-644475" y="3434933"/>
            <a:ext cx="3045351" cy="3980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199"/>
              </a:lnSpc>
            </a:pPr>
            <a:r>
              <a:rPr lang="en-US" sz="2650" b="1">
                <a:solidFill>
                  <a:srgbClr val="813158"/>
                </a:solidFill>
                <a:latin typeface="Aptos"/>
              </a:rPr>
              <a:t>% Staff Educate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B58633-7E34-D41F-DA0D-F895409BB451}"/>
              </a:ext>
            </a:extLst>
          </p:cNvPr>
          <p:cNvSpPr/>
          <p:nvPr/>
        </p:nvSpPr>
        <p:spPr>
          <a:xfrm>
            <a:off x="10235258" y="1273598"/>
            <a:ext cx="794926" cy="484758"/>
          </a:xfrm>
          <a:prstGeom prst="rect">
            <a:avLst/>
          </a:prstGeom>
          <a:solidFill>
            <a:srgbClr val="F2F9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9BE7C024-8353-5870-C101-B2B2DF573F4E}"/>
              </a:ext>
            </a:extLst>
          </p:cNvPr>
          <p:cNvSpPr/>
          <p:nvPr/>
        </p:nvSpPr>
        <p:spPr>
          <a:xfrm>
            <a:off x="10690879" y="1625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4C69C5D-E598-3467-0998-7615A77EFE32}"/>
              </a:ext>
            </a:extLst>
          </p:cNvPr>
          <p:cNvSpPr txBox="1"/>
          <p:nvPr/>
        </p:nvSpPr>
        <p:spPr>
          <a:xfrm>
            <a:off x="10316882" y="2775436"/>
            <a:ext cx="1419411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>
                <a:solidFill>
                  <a:srgbClr val="ED1A19"/>
                </a:solidFill>
                <a:latin typeface="Aptos Display"/>
              </a:rPr>
              <a:t>57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C1260AA-B0E4-8984-58D9-4FE9C3A0936D}"/>
              </a:ext>
            </a:extLst>
          </p:cNvPr>
          <p:cNvSpPr txBox="1"/>
          <p:nvPr/>
        </p:nvSpPr>
        <p:spPr>
          <a:xfrm>
            <a:off x="10272738" y="3649043"/>
            <a:ext cx="1893679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>
                <a:solidFill>
                  <a:srgbClr val="7B96E8"/>
                </a:solidFill>
                <a:latin typeface="Aptos Display"/>
              </a:rPr>
              <a:t>37%</a:t>
            </a:r>
            <a:r>
              <a:rPr lang="en-US" sz="1600">
                <a:latin typeface="Aptos Display"/>
              </a:rPr>
              <a:t> Hospital Staff</a:t>
            </a:r>
          </a:p>
          <a:p>
            <a:r>
              <a:rPr lang="en-US" sz="1600" b="1">
                <a:solidFill>
                  <a:schemeClr val="tx1"/>
                </a:solidFill>
                <a:latin typeface="Aptos Display"/>
              </a:rPr>
              <a:t>34%</a:t>
            </a:r>
            <a:r>
              <a:rPr lang="en-US" sz="1600">
                <a:latin typeface="Aptos Display"/>
              </a:rPr>
              <a:t> Ancillary Clinicians</a:t>
            </a:r>
          </a:p>
          <a:p>
            <a:r>
              <a:rPr lang="en-US" sz="1600" b="1">
                <a:solidFill>
                  <a:srgbClr val="C45ED1"/>
                </a:solidFill>
                <a:latin typeface="Aptos Display"/>
              </a:rPr>
              <a:t>27%</a:t>
            </a:r>
            <a:r>
              <a:rPr lang="en-US" sz="1600">
                <a:latin typeface="Aptos Display"/>
              </a:rPr>
              <a:t> Physicians and Providers</a:t>
            </a:r>
            <a:endParaRPr lang="en-US">
              <a:latin typeface="Aptos Display"/>
            </a:endParaRPr>
          </a:p>
        </p:txBody>
      </p:sp>
    </p:spTree>
    <p:extLst>
      <p:ext uri="{BB962C8B-B14F-4D97-AF65-F5344CB8AC3E}">
        <p14:creationId xmlns:p14="http://schemas.microsoft.com/office/powerpoint/2010/main" val="30497063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25A4389-CCAA-3695-AD78-A054E3EB7C85}"/>
              </a:ext>
            </a:extLst>
          </p:cNvPr>
          <p:cNvSpPr/>
          <p:nvPr/>
        </p:nvSpPr>
        <p:spPr>
          <a:xfrm>
            <a:off x="6910294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TextBox 3"/>
          <p:cNvSpPr txBox="1"/>
          <p:nvPr/>
        </p:nvSpPr>
        <p:spPr>
          <a:xfrm>
            <a:off x="1136496" y="411531"/>
            <a:ext cx="10150100" cy="5469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4800"/>
              </a:lnSpc>
            </a:pPr>
            <a:r>
              <a:rPr lang="en-US" sz="2500" b="1">
                <a:solidFill>
                  <a:srgbClr val="813158"/>
                </a:solidFill>
                <a:latin typeface="Aptos Display"/>
              </a:rPr>
              <a:t>Standardized Practice of Promoting a Safe Sleep Environment</a:t>
            </a:r>
            <a:endParaRPr lang="en-US" sz="2500">
              <a:cs typeface="Arial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1500712" y="5956588"/>
            <a:ext cx="10150100" cy="65992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680"/>
              </a:lnSpc>
            </a:pPr>
            <a:r>
              <a:rPr lang="en-US" sz="1700" b="1">
                <a:solidFill>
                  <a:srgbClr val="813158"/>
                </a:solidFill>
                <a:latin typeface="Aptos Display"/>
              </a:rPr>
              <a:t>Hospital has a standardized practice of promoting a safe sleep environment in the hospital setting in accordance with the 2022 AAP Recommendations.  </a:t>
            </a:r>
          </a:p>
          <a:p>
            <a:pPr algn="ctr">
              <a:lnSpc>
                <a:spcPts val="1680"/>
              </a:lnSpc>
            </a:pPr>
            <a:endParaRPr lang="en-US" sz="1700" b="1">
              <a:solidFill>
                <a:srgbClr val="813158"/>
              </a:solidFill>
              <a:latin typeface="Aptos Display"/>
            </a:endParaRPr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8" t="11755" r="91" b="8185"/>
          <a:stretch/>
        </p:blipFill>
        <p:spPr>
          <a:xfrm>
            <a:off x="2007786" y="1067094"/>
            <a:ext cx="8177044" cy="4823883"/>
          </a:xfrm>
          <a:prstGeom prst="rect">
            <a:avLst/>
          </a:prstGeom>
        </p:spPr>
      </p:pic>
      <p:sp>
        <p:nvSpPr>
          <p:cNvPr id="9" name="Freeform 8">
            <a:extLst>
              <a:ext uri="{FF2B5EF4-FFF2-40B4-BE49-F238E27FC236}">
                <a16:creationId xmlns:a16="http://schemas.microsoft.com/office/drawing/2014/main" id="{72587918-2B52-E3D8-671C-5A0636525B0B}"/>
              </a:ext>
            </a:extLst>
          </p:cNvPr>
          <p:cNvSpPr/>
          <p:nvPr/>
        </p:nvSpPr>
        <p:spPr>
          <a:xfrm>
            <a:off x="364620" y="685801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pic>
        <p:nvPicPr>
          <p:cNvPr id="8" name="Picture 7" descr="A blue and white logo&#10;&#10;Description automatically generated">
            <a:extLst>
              <a:ext uri="{FF2B5EF4-FFF2-40B4-BE49-F238E27FC236}">
                <a16:creationId xmlns:a16="http://schemas.microsoft.com/office/drawing/2014/main" id="{DBE87B76-23AD-E697-C0E7-3A1C481587B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0466" y="2419162"/>
            <a:ext cx="2295613" cy="2131750"/>
          </a:xfrm>
          <a:prstGeom prst="rect">
            <a:avLst/>
          </a:prstGeom>
        </p:spPr>
      </p:pic>
      <p:sp>
        <p:nvSpPr>
          <p:cNvPr id="10" name="TextBox 6">
            <a:extLst>
              <a:ext uri="{FF2B5EF4-FFF2-40B4-BE49-F238E27FC236}">
                <a16:creationId xmlns:a16="http://schemas.microsoft.com/office/drawing/2014/main" id="{112B3A34-3029-E12F-C05E-182611F6F594}"/>
              </a:ext>
            </a:extLst>
          </p:cNvPr>
          <p:cNvSpPr txBox="1"/>
          <p:nvPr/>
        </p:nvSpPr>
        <p:spPr>
          <a:xfrm>
            <a:off x="9869869" y="3236989"/>
            <a:ext cx="1969808" cy="1791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rgbClr val="813158"/>
                </a:solidFill>
                <a:latin typeface="Aptos Display"/>
              </a:rPr>
              <a:t>28 hospitals are actively working on this!</a:t>
            </a:r>
            <a:endParaRPr lang="en-US" dirty="0"/>
          </a:p>
          <a:p>
            <a:pPr algn="ctr">
              <a:lnSpc>
                <a:spcPts val="1680"/>
              </a:lnSpc>
            </a:pPr>
            <a:endParaRPr lang="en-US" sz="2500" b="1" dirty="0">
              <a:solidFill>
                <a:srgbClr val="813158"/>
              </a:solidFill>
              <a:latin typeface="Aptos Display"/>
            </a:endParaRPr>
          </a:p>
        </p:txBody>
      </p:sp>
    </p:spTree>
    <p:extLst>
      <p:ext uri="{BB962C8B-B14F-4D97-AF65-F5344CB8AC3E}">
        <p14:creationId xmlns:p14="http://schemas.microsoft.com/office/powerpoint/2010/main" val="13020207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216" y="648750"/>
            <a:ext cx="12372974" cy="856844"/>
          </a:xfrm>
        </p:spPr>
        <p:txBody>
          <a:bodyPr>
            <a:noAutofit/>
          </a:bodyPr>
          <a:lstStyle/>
          <a:p>
            <a:r>
              <a:rPr lang="en-US" sz="4000" dirty="0">
                <a:ea typeface="+mj-lt"/>
                <a:cs typeface="+mj-lt"/>
              </a:rPr>
              <a:t>What are we doing today? </a:t>
            </a:r>
            <a:br>
              <a:rPr lang="en-US" sz="4000" dirty="0">
                <a:ea typeface="+mj-lt"/>
                <a:cs typeface="+mj-lt"/>
              </a:rPr>
            </a:br>
            <a:r>
              <a:rPr lang="en-US" sz="4000" dirty="0">
                <a:ea typeface="+mj-lt"/>
                <a:cs typeface="+mj-lt"/>
              </a:rPr>
              <a:t>Face-to-Face 2024 Objectives</a:t>
            </a:r>
            <a:endParaRPr lang="en-US" sz="40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8011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19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17" name="Content Placeholder 2">
            <a:extLst>
              <a:ext uri="{FF2B5EF4-FFF2-40B4-BE49-F238E27FC236}">
                <a16:creationId xmlns:a16="http://schemas.microsoft.com/office/drawing/2014/main" id="{9B647FFD-DB92-0E72-0606-A89EC41A7F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7782938"/>
              </p:ext>
            </p:extLst>
          </p:nvPr>
        </p:nvGraphicFramePr>
        <p:xfrm>
          <a:off x="6464506" y="1796128"/>
          <a:ext cx="5256874" cy="42782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16" name="Text Placeholder 2">
            <a:extLst>
              <a:ext uri="{FF2B5EF4-FFF2-40B4-BE49-F238E27FC236}">
                <a16:creationId xmlns:a16="http://schemas.microsoft.com/office/drawing/2014/main" id="{913DF5DC-C50D-BA92-4A58-D819354B3A82}"/>
              </a:ext>
            </a:extLst>
          </p:cNvPr>
          <p:cNvSpPr txBox="1">
            <a:spLocks/>
          </p:cNvSpPr>
          <p:nvPr/>
        </p:nvSpPr>
        <p:spPr>
          <a:xfrm>
            <a:off x="470620" y="1359185"/>
            <a:ext cx="5138679" cy="47151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0">
              <a:buFont typeface="Arial" panose="020B0604020202020204" pitchFamily="34" charset="0"/>
              <a:buNone/>
            </a:pPr>
            <a:endParaRPr lang="en-US" sz="2000" dirty="0"/>
          </a:p>
          <a:p>
            <a:r>
              <a:rPr lang="en-US" sz="2000" dirty="0">
                <a:solidFill>
                  <a:srgbClr val="000000"/>
                </a:solidFill>
                <a:latin typeface="Aptos Display"/>
                <a:ea typeface="Lato"/>
                <a:cs typeface="Lato"/>
              </a:rPr>
              <a:t>Review the significance and implementation of the ESSI educational foundation</a:t>
            </a:r>
          </a:p>
          <a:p>
            <a:r>
              <a:rPr lang="en-US" sz="2000" dirty="0">
                <a:solidFill>
                  <a:srgbClr val="000000"/>
                </a:solidFill>
                <a:latin typeface="Aptos Display"/>
                <a:ea typeface="Lato"/>
                <a:cs typeface="Lato"/>
              </a:rPr>
              <a:t>Begin to recognize the importance of </a:t>
            </a:r>
            <a:r>
              <a:rPr lang="en-US" sz="2000" dirty="0" err="1">
                <a:solidFill>
                  <a:srgbClr val="000000"/>
                </a:solidFill>
                <a:latin typeface="Aptos Display"/>
                <a:ea typeface="Lato"/>
                <a:cs typeface="Lato"/>
              </a:rPr>
              <a:t>SDoH</a:t>
            </a:r>
            <a:r>
              <a:rPr lang="en-US" sz="2000" dirty="0">
                <a:solidFill>
                  <a:srgbClr val="000000"/>
                </a:solidFill>
                <a:latin typeface="Aptos Display"/>
                <a:ea typeface="Lato"/>
                <a:cs typeface="Lato"/>
              </a:rPr>
              <a:t> screening and linkage to resources in the newborn setting</a:t>
            </a:r>
          </a:p>
          <a:p>
            <a:r>
              <a:rPr lang="en-US" sz="2000" dirty="0">
                <a:solidFill>
                  <a:srgbClr val="000000"/>
                </a:solidFill>
                <a:latin typeface="Aptos Display"/>
                <a:ea typeface="Lato"/>
                <a:cs typeface="Lato"/>
              </a:rPr>
              <a:t>Continue to understand the promotion of safe sleep in Illinois</a:t>
            </a:r>
          </a:p>
          <a:p>
            <a:r>
              <a:rPr lang="en-US" sz="2000" dirty="0">
                <a:solidFill>
                  <a:srgbClr val="000000"/>
                </a:solidFill>
                <a:latin typeface="Aptos Display"/>
                <a:ea typeface="Lato"/>
                <a:cs typeface="Lato"/>
              </a:rPr>
              <a:t>Learn to implement successful ESSI strategies and address common implementation barriers together</a:t>
            </a:r>
          </a:p>
          <a:p>
            <a:endParaRPr lang="en-US" sz="2000" dirty="0">
              <a:solidFill>
                <a:srgbClr val="000000"/>
              </a:solidFill>
              <a:latin typeface="Aptos Display"/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8530499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AC9D3-DE84-0FCC-2446-277F1A255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940" y="410368"/>
            <a:ext cx="10972800" cy="1325563"/>
          </a:xfrm>
        </p:spPr>
        <p:txBody>
          <a:bodyPr/>
          <a:lstStyle/>
          <a:p>
            <a:r>
              <a:rPr lang="en-US" sz="4800" dirty="0">
                <a:latin typeface="Aptos Display"/>
              </a:rPr>
              <a:t>Equity and Safe Sleep in Infa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9E75B-12C7-FA4C-EB7E-8A8B44E7BA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0487" y="1862931"/>
            <a:ext cx="10972800" cy="4351338"/>
          </a:xfrm>
        </p:spPr>
        <p:txBody>
          <a:bodyPr/>
          <a:lstStyle/>
          <a:p>
            <a:r>
              <a:rPr lang="en-US" sz="3200" b="1" dirty="0">
                <a:latin typeface="Aptos"/>
              </a:rPr>
              <a:t>What have we done so far? – The foundation we've built together in 2024</a:t>
            </a:r>
          </a:p>
          <a:p>
            <a:pPr marL="114300" indent="0">
              <a:buNone/>
            </a:pPr>
            <a:r>
              <a:rPr lang="en-US" sz="3200" b="1" dirty="0">
                <a:latin typeface="Aptos"/>
              </a:rPr>
              <a:t>	Then…</a:t>
            </a:r>
          </a:p>
          <a:p>
            <a:r>
              <a:rPr lang="en-US" sz="3200" b="1" dirty="0">
                <a:latin typeface="Aptos"/>
              </a:rPr>
              <a:t>What are we doing today?</a:t>
            </a:r>
          </a:p>
          <a:p>
            <a:r>
              <a:rPr lang="en-US" sz="3200" b="1" dirty="0">
                <a:latin typeface="Aptos"/>
              </a:rPr>
              <a:t>What will we do next?</a:t>
            </a:r>
            <a:endParaRPr lang="en-US" b="1">
              <a:latin typeface="Aptos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1C6C9F-1260-D9EE-2C04-0550683AD0B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5" name="Google Shape;2615;g2491ddcd1b9_0_4052"/>
          <p:cNvSpPr/>
          <p:nvPr/>
        </p:nvSpPr>
        <p:spPr>
          <a:xfrm>
            <a:off x="0" y="0"/>
            <a:ext cx="12192000" cy="6857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/>
              <a:t>Margaret.Parker@umassmemorial.org</a:t>
            </a: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21" name="Google Shape;2621;g2491ddcd1b9_0_4052"/>
          <p:cNvSpPr txBox="1">
            <a:spLocks noGrp="1"/>
          </p:cNvSpPr>
          <p:nvPr>
            <p:ph type="sldNum" idx="12"/>
          </p:nvPr>
        </p:nvSpPr>
        <p:spPr>
          <a:xfrm>
            <a:off x="7353254" y="5832896"/>
            <a:ext cx="1532400" cy="2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t>20</a:t>
            </a:fld>
            <a:endParaRPr/>
          </a:p>
        </p:txBody>
      </p:sp>
      <p:sp>
        <p:nvSpPr>
          <p:cNvPr id="2622" name="Google Shape;2622;g2491ddcd1b9_0_4052"/>
          <p:cNvSpPr txBox="1">
            <a:spLocks noGrp="1"/>
          </p:cNvSpPr>
          <p:nvPr>
            <p:ph type="ftr" idx="11"/>
          </p:nvPr>
        </p:nvSpPr>
        <p:spPr>
          <a:xfrm>
            <a:off x="2756212" y="5832896"/>
            <a:ext cx="2298600" cy="2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66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3" name="Picture 2" descr="A puzzle pieces with people standing next to each other&#10;&#10;Description automatically generated">
            <a:extLst>
              <a:ext uri="{FF2B5EF4-FFF2-40B4-BE49-F238E27FC236}">
                <a16:creationId xmlns:a16="http://schemas.microsoft.com/office/drawing/2014/main" id="{029E42F2-97A6-A62B-DEFC-3A50D6BBDBB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76" b="-115"/>
          <a:stretch/>
        </p:blipFill>
        <p:spPr>
          <a:xfrm>
            <a:off x="2179910" y="171663"/>
            <a:ext cx="9850985" cy="6514073"/>
          </a:xfrm>
          <a:prstGeom prst="rect">
            <a:avLst/>
          </a:prstGeom>
          <a:ln>
            <a:noFill/>
          </a:ln>
        </p:spPr>
      </p:pic>
      <p:sp>
        <p:nvSpPr>
          <p:cNvPr id="5" name="Google Shape;2640;g2491ddcd1b9_0_6091">
            <a:extLst>
              <a:ext uri="{FF2B5EF4-FFF2-40B4-BE49-F238E27FC236}">
                <a16:creationId xmlns:a16="http://schemas.microsoft.com/office/drawing/2014/main" id="{0AA11422-8075-1CEA-080D-088265EED04D}"/>
              </a:ext>
            </a:extLst>
          </p:cNvPr>
          <p:cNvSpPr txBox="1">
            <a:spLocks/>
          </p:cNvSpPr>
          <p:nvPr/>
        </p:nvSpPr>
        <p:spPr>
          <a:xfrm>
            <a:off x="10604867" y="914939"/>
            <a:ext cx="386711" cy="548760"/>
          </a:xfrm>
          <a:prstGeom prst="rect">
            <a:avLst/>
          </a:prstGeom>
          <a:solidFill>
            <a:schemeClr val="lt1"/>
          </a:solidFill>
          <a:ln w="57150" cap="flat" cmpd="sng">
            <a:solidFill>
              <a:srgbClr val="FFCD6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3600"/>
            </a:pPr>
            <a:r>
              <a:rPr lang="en-US" sz="2200" dirty="0">
                <a:latin typeface="Aptos"/>
              </a:rPr>
              <a:t>2</a:t>
            </a:r>
          </a:p>
        </p:txBody>
      </p:sp>
      <p:sp>
        <p:nvSpPr>
          <p:cNvPr id="8" name="Google Shape;2640;g2491ddcd1b9_0_6091">
            <a:extLst>
              <a:ext uri="{FF2B5EF4-FFF2-40B4-BE49-F238E27FC236}">
                <a16:creationId xmlns:a16="http://schemas.microsoft.com/office/drawing/2014/main" id="{8F1E6A18-722E-6ECB-A0D2-B47797723304}"/>
              </a:ext>
            </a:extLst>
          </p:cNvPr>
          <p:cNvSpPr txBox="1">
            <a:spLocks/>
          </p:cNvSpPr>
          <p:nvPr/>
        </p:nvSpPr>
        <p:spPr>
          <a:xfrm>
            <a:off x="1195444" y="3161701"/>
            <a:ext cx="345244" cy="537283"/>
          </a:xfrm>
          <a:prstGeom prst="rect">
            <a:avLst/>
          </a:prstGeom>
          <a:solidFill>
            <a:schemeClr val="lt1"/>
          </a:solidFill>
          <a:ln w="57150" cap="flat" cmpd="sng">
            <a:solidFill>
              <a:srgbClr val="01ADE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3600"/>
            </a:pPr>
            <a:r>
              <a:rPr lang="en-US" sz="2200" dirty="0">
                <a:latin typeface="Aptos"/>
              </a:rPr>
              <a:t>1</a:t>
            </a:r>
          </a:p>
        </p:txBody>
      </p:sp>
      <p:sp>
        <p:nvSpPr>
          <p:cNvPr id="9" name="Google Shape;2640;g2491ddcd1b9_0_6091">
            <a:extLst>
              <a:ext uri="{FF2B5EF4-FFF2-40B4-BE49-F238E27FC236}">
                <a16:creationId xmlns:a16="http://schemas.microsoft.com/office/drawing/2014/main" id="{A0C28F3F-9013-E926-A8C1-FE4808841B83}"/>
              </a:ext>
            </a:extLst>
          </p:cNvPr>
          <p:cNvSpPr txBox="1">
            <a:spLocks/>
          </p:cNvSpPr>
          <p:nvPr/>
        </p:nvSpPr>
        <p:spPr>
          <a:xfrm>
            <a:off x="10624890" y="4446527"/>
            <a:ext cx="354664" cy="548760"/>
          </a:xfrm>
          <a:prstGeom prst="rect">
            <a:avLst/>
          </a:prstGeom>
          <a:solidFill>
            <a:schemeClr val="lt1"/>
          </a:solidFill>
          <a:ln w="57150" cap="flat" cmpd="sng">
            <a:solidFill>
              <a:srgbClr val="AD3D5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3600"/>
            </a:pPr>
            <a:r>
              <a:rPr lang="en-US" sz="2200" dirty="0">
                <a:latin typeface="Aptos"/>
              </a:rPr>
              <a:t>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563DD1-70F9-8190-5795-0BAE5EC2E8DC}"/>
              </a:ext>
            </a:extLst>
          </p:cNvPr>
          <p:cNvSpPr txBox="1"/>
          <p:nvPr/>
        </p:nvSpPr>
        <p:spPr>
          <a:xfrm>
            <a:off x="707364" y="647790"/>
            <a:ext cx="3481293" cy="1569660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800" b="1" dirty="0">
                <a:solidFill>
                  <a:srgbClr val="26487E"/>
                </a:solidFill>
                <a:latin typeface="Aptos Display"/>
              </a:rPr>
              <a:t>Breakout Sessions</a:t>
            </a:r>
          </a:p>
        </p:txBody>
      </p:sp>
    </p:spTree>
    <p:extLst>
      <p:ext uri="{BB962C8B-B14F-4D97-AF65-F5344CB8AC3E}">
        <p14:creationId xmlns:p14="http://schemas.microsoft.com/office/powerpoint/2010/main" val="32290606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CCE588F1-A526-7211-B432-6824C964E8AA}"/>
              </a:ext>
            </a:extLst>
          </p:cNvPr>
          <p:cNvSpPr/>
          <p:nvPr/>
        </p:nvSpPr>
        <p:spPr>
          <a:xfrm>
            <a:off x="6895352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403" y="244000"/>
            <a:ext cx="11697284" cy="6370000"/>
          </a:xfrm>
          <a:custGeom>
            <a:avLst/>
            <a:gdLst/>
            <a:ahLst/>
            <a:cxnLst/>
            <a:rect l="l" t="t" r="r" b="b"/>
            <a:pathLst>
              <a:path w="17545926" h="9555000">
                <a:moveTo>
                  <a:pt x="0" y="0"/>
                </a:moveTo>
                <a:lnTo>
                  <a:pt x="17545926" y="0"/>
                </a:lnTo>
                <a:lnTo>
                  <a:pt x="1754592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Freeform 3"/>
          <p:cNvSpPr/>
          <p:nvPr/>
        </p:nvSpPr>
        <p:spPr>
          <a:xfrm>
            <a:off x="7337866" y="3907936"/>
            <a:ext cx="1620617" cy="1741453"/>
          </a:xfrm>
          <a:custGeom>
            <a:avLst/>
            <a:gdLst/>
            <a:ahLst/>
            <a:cxnLst/>
            <a:rect l="l" t="t" r="r" b="b"/>
            <a:pathLst>
              <a:path w="2430926" h="2612180">
                <a:moveTo>
                  <a:pt x="0" y="0"/>
                </a:moveTo>
                <a:lnTo>
                  <a:pt x="2430926" y="0"/>
                </a:lnTo>
                <a:lnTo>
                  <a:pt x="2430926" y="2612180"/>
                </a:lnTo>
                <a:lnTo>
                  <a:pt x="0" y="261218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4" name="Freeform 4"/>
          <p:cNvSpPr/>
          <p:nvPr/>
        </p:nvSpPr>
        <p:spPr>
          <a:xfrm>
            <a:off x="7657909" y="1999007"/>
            <a:ext cx="3898851" cy="2163620"/>
          </a:xfrm>
          <a:custGeom>
            <a:avLst/>
            <a:gdLst/>
            <a:ahLst/>
            <a:cxnLst/>
            <a:rect l="l" t="t" r="r" b="b"/>
            <a:pathLst>
              <a:path w="5848276" h="3245430">
                <a:moveTo>
                  <a:pt x="0" y="0"/>
                </a:moveTo>
                <a:lnTo>
                  <a:pt x="5848276" y="0"/>
                </a:lnTo>
                <a:lnTo>
                  <a:pt x="5848276" y="3245430"/>
                </a:lnTo>
                <a:lnTo>
                  <a:pt x="0" y="3245430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grpSp>
        <p:nvGrpSpPr>
          <p:cNvPr id="5" name="Group 5"/>
          <p:cNvGrpSpPr/>
          <p:nvPr/>
        </p:nvGrpSpPr>
        <p:grpSpPr>
          <a:xfrm>
            <a:off x="7785378" y="2076808"/>
            <a:ext cx="93754" cy="92709"/>
            <a:chOff x="0" y="0"/>
            <a:chExt cx="187508" cy="185418"/>
          </a:xfrm>
        </p:grpSpPr>
        <p:sp>
          <p:nvSpPr>
            <p:cNvPr id="6" name="Freeform 6"/>
            <p:cNvSpPr/>
            <p:nvPr/>
          </p:nvSpPr>
          <p:spPr>
            <a:xfrm>
              <a:off x="254" y="0"/>
              <a:ext cx="186944" cy="185166"/>
            </a:xfrm>
            <a:custGeom>
              <a:avLst/>
              <a:gdLst/>
              <a:ahLst/>
              <a:cxnLst/>
              <a:rect l="l" t="t" r="r" b="b"/>
              <a:pathLst>
                <a:path w="186944" h="185166">
                  <a:moveTo>
                    <a:pt x="94361" y="0"/>
                  </a:moveTo>
                  <a:cubicBezTo>
                    <a:pt x="43053" y="0"/>
                    <a:pt x="0" y="41148"/>
                    <a:pt x="0" y="92583"/>
                  </a:cubicBezTo>
                  <a:cubicBezTo>
                    <a:pt x="0" y="144018"/>
                    <a:pt x="43053" y="185166"/>
                    <a:pt x="94361" y="185166"/>
                  </a:cubicBezTo>
                  <a:cubicBezTo>
                    <a:pt x="146050" y="185166"/>
                    <a:pt x="186944" y="144018"/>
                    <a:pt x="186944" y="92583"/>
                  </a:cubicBezTo>
                  <a:cubicBezTo>
                    <a:pt x="186944" y="41148"/>
                    <a:pt x="146050" y="0"/>
                    <a:pt x="94361" y="0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7" name="Freeform 7"/>
          <p:cNvSpPr/>
          <p:nvPr/>
        </p:nvSpPr>
        <p:spPr>
          <a:xfrm>
            <a:off x="9108633" y="4383287"/>
            <a:ext cx="1139839" cy="1071426"/>
          </a:xfrm>
          <a:custGeom>
            <a:avLst/>
            <a:gdLst/>
            <a:ahLst/>
            <a:cxnLst/>
            <a:rect l="l" t="t" r="r" b="b"/>
            <a:pathLst>
              <a:path w="1709758" h="1607139">
                <a:moveTo>
                  <a:pt x="0" y="0"/>
                </a:moveTo>
                <a:lnTo>
                  <a:pt x="1709758" y="0"/>
                </a:lnTo>
                <a:lnTo>
                  <a:pt x="1709758" y="1607139"/>
                </a:lnTo>
                <a:lnTo>
                  <a:pt x="0" y="1607139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8" name="Freeform 8"/>
          <p:cNvSpPr/>
          <p:nvPr/>
        </p:nvSpPr>
        <p:spPr>
          <a:xfrm>
            <a:off x="403879" y="5649390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9" name="TextBox 9"/>
          <p:cNvSpPr txBox="1"/>
          <p:nvPr/>
        </p:nvSpPr>
        <p:spPr>
          <a:xfrm>
            <a:off x="925804" y="2113004"/>
            <a:ext cx="6386100" cy="31057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8160"/>
              </a:lnSpc>
            </a:pPr>
            <a:r>
              <a:rPr lang="en-US" sz="6800" dirty="0">
                <a:solidFill>
                  <a:srgbClr val="243686"/>
                </a:solidFill>
                <a:latin typeface="Roboto Bold"/>
              </a:rPr>
              <a:t>Starting to Think about the ESSI Bundle </a:t>
            </a:r>
            <a:endParaRPr lang="en-US" dirty="0"/>
          </a:p>
        </p:txBody>
      </p:sp>
      <p:sp>
        <p:nvSpPr>
          <p:cNvPr id="10" name="TextBox 10"/>
          <p:cNvSpPr txBox="1"/>
          <p:nvPr/>
        </p:nvSpPr>
        <p:spPr>
          <a:xfrm>
            <a:off x="9615059" y="2470926"/>
            <a:ext cx="274294" cy="2821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239"/>
              </a:lnSpc>
            </a:pPr>
            <a:r>
              <a:rPr lang="en-US" sz="1866">
                <a:solidFill>
                  <a:srgbClr val="243686"/>
                </a:solidFill>
                <a:latin typeface="Roboto Bold"/>
              </a:rPr>
              <a:t>A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10109548" y="2600302"/>
            <a:ext cx="274294" cy="2821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239"/>
              </a:lnSpc>
            </a:pPr>
            <a:r>
              <a:rPr lang="en-US" sz="1866">
                <a:solidFill>
                  <a:srgbClr val="243686"/>
                </a:solidFill>
                <a:latin typeface="Roboto Bold"/>
              </a:rPr>
              <a:t>B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10564266" y="2731384"/>
            <a:ext cx="274294" cy="2821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239"/>
              </a:lnSpc>
            </a:pPr>
            <a:r>
              <a:rPr lang="en-US" sz="1866">
                <a:solidFill>
                  <a:srgbClr val="243686"/>
                </a:solidFill>
                <a:latin typeface="Roboto Bold"/>
              </a:rPr>
              <a:t>C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10991902" y="2443222"/>
            <a:ext cx="274294" cy="2821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239"/>
              </a:lnSpc>
            </a:pPr>
            <a:r>
              <a:rPr lang="en-US" sz="1866">
                <a:solidFill>
                  <a:srgbClr val="243686"/>
                </a:solidFill>
                <a:latin typeface="Roboto Bold"/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3513730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844675"/>
            <a:ext cx="2805113" cy="1347788"/>
          </a:xfrm>
        </p:spPr>
        <p:txBody>
          <a:bodyPr/>
          <a:lstStyle/>
          <a:p>
            <a:pPr algn="ctr"/>
            <a:r>
              <a:rPr lang="en-US" sz="4000">
                <a:latin typeface="DM Sans"/>
                <a:ea typeface="Lato Medium"/>
                <a:cs typeface="Lato Medium"/>
              </a:rPr>
              <a:t>Key Driver Diagram</a:t>
            </a:r>
            <a:endParaRPr lang="en-US" sz="4000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04202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0556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</a:rPr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>
                <a:latin typeface="Calibri"/>
                <a:cs typeface="Calibri"/>
              </a:rPr>
              <a:t>By December 2025: </a:t>
            </a:r>
            <a:endParaRPr lang="en-US" sz="1500">
              <a:latin typeface="Calibri"/>
              <a:ea typeface="Calibri"/>
              <a:cs typeface="Calibri"/>
            </a:endParaRPr>
          </a:p>
          <a:p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latin typeface="Calibri"/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2. Greater than 80% of infants will be discharged from ILPQC hospitals with a completed ESSI bundle. </a:t>
            </a:r>
            <a:r>
              <a:rPr lang="en-US" sz="1500"/>
              <a:t>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dirty="0">
                <a:latin typeface="Calibri"/>
                <a:cs typeface="Calibri"/>
              </a:rPr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dirty="0">
                <a:latin typeface="Calibri"/>
                <a:cs typeface="Calibri"/>
              </a:rPr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Parent and Caregiver Empowerment</a:t>
            </a:r>
            <a:endParaRPr lang="en-US" sz="1600">
              <a:latin typeface="Calibri"/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Community </a:t>
            </a:r>
            <a:r>
              <a:rPr lang="en-US" sz="160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600">
                <a:solidFill>
                  <a:schemeClr val="tx1"/>
                </a:solidFill>
                <a:latin typeface="Calibri"/>
                <a:cs typeface="Calibri"/>
              </a:rPr>
              <a:t>Partnerships</a:t>
            </a:r>
            <a:endParaRPr lang="en-US" sz="16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"/>
                <a:cs typeface="Calibri"/>
              </a:rPr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"/>
                <a:cs typeface="Calibri"/>
              </a:rPr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Parent and Caregiver Experience Prioritization</a:t>
            </a:r>
            <a:endParaRPr lang="en-US" sz="1400" err="1">
              <a:latin typeface="Calibri"/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pectful Parent and Caregiver Partnerships</a:t>
            </a:r>
            <a:endParaRPr lang="en-US" sz="1400">
              <a:solidFill>
                <a:srgbClr val="FF0000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Aware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  <a:latin typeface="Calibri"/>
                <a:cs typeface="Calibri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Dissemination of Stratified Data</a:t>
            </a:r>
            <a:endParaRPr lang="en-US" sz="14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Application of Data to Address Inequities</a:t>
            </a:r>
            <a:endParaRPr lang="en-US" sz="1400">
              <a:latin typeface="Calibri"/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Awareness</a:t>
            </a:r>
            <a:r>
              <a:rPr lang="en-US" sz="1400">
                <a:latin typeface="Calibri"/>
                <a:cs typeface="Calibri"/>
              </a:rPr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Readiness</a:t>
            </a:r>
            <a:r>
              <a:rPr lang="en-US" sz="1400">
                <a:latin typeface="Calibri"/>
                <a:cs typeface="Calibri"/>
              </a:rPr>
              <a:t>: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Transfer of Care</a:t>
            </a:r>
            <a:r>
              <a:rPr lang="en-US" sz="1400">
                <a:latin typeface="Calibri"/>
                <a:cs typeface="Calibri"/>
              </a:rPr>
              <a:t>: ESSI Newborn Care Plan (Awareness &amp; Readiness) documented in the discharge 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717408" y="2634783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282029" y="2438921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dirty="0">
                <a:cs typeface="Calibri"/>
              </a:rPr>
              <a:t>3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8955777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2483330" y="1119009"/>
            <a:ext cx="9531829" cy="1334873"/>
          </a:xfrm>
        </p:spPr>
        <p:txBody>
          <a:bodyPr/>
          <a:lstStyle/>
          <a:p>
            <a:pPr algn="ctr"/>
            <a:r>
              <a:rPr lang="en-US" sz="4800" dirty="0">
                <a:latin typeface="Aptos"/>
                <a:ea typeface="Lato Medium"/>
                <a:cs typeface="Lato Medium"/>
              </a:rPr>
              <a:t>ESSI Bundle</a:t>
            </a:r>
            <a:endParaRPr lang="en-US" sz="4800" dirty="0">
              <a:latin typeface="Apto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 dirty="0">
                <a:solidFill>
                  <a:srgbClr val="FFFFFF"/>
                </a:solidFill>
                <a:latin typeface="Aptos"/>
              </a:rPr>
              <a:t>By December 2025, greater than 80% of infants will be discharged from ILPQC hospitals with a </a:t>
            </a:r>
            <a:r>
              <a:rPr lang="en-US" sz="2000" dirty="0" err="1">
                <a:solidFill>
                  <a:srgbClr val="FFFFFF"/>
                </a:solidFill>
                <a:latin typeface="Aptos"/>
              </a:rPr>
              <a:t>cmpleted</a:t>
            </a:r>
            <a:r>
              <a:rPr lang="en-US" sz="2000" dirty="0">
                <a:solidFill>
                  <a:srgbClr val="FFFFFF"/>
                </a:solidFill>
                <a:latin typeface="Aptos"/>
              </a:rPr>
              <a:t>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558235" y="3496677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080540" y="3702112"/>
            <a:ext cx="2028316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586621" y="4279671"/>
            <a:ext cx="3150228" cy="62762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529982" y="4471525"/>
            <a:ext cx="3206735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529982" y="2750624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181248" y="2902430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005248" y="2757785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 dirty="0">
                <a:solidFill>
                  <a:srgbClr val="000000"/>
                </a:solidFill>
                <a:latin typeface="Aptos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004882" y="3585305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Aptos"/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latin typeface="Aptos"/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latin typeface="Aptos"/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  <a:latin typeface="Aptos"/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008132" y="4458917"/>
            <a:ext cx="7457964" cy="292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Aptos"/>
                <a:ea typeface="Calibri"/>
                <a:cs typeface="Calibri"/>
              </a:rPr>
              <a:t>Communication to primary care provider completed.</a:t>
            </a:r>
            <a:endParaRPr lang="en-US" sz="2200">
              <a:latin typeface="Aptos"/>
              <a:cs typeface="Calibri"/>
            </a:endParaRP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7500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7679C6A-0873-023D-DD66-78DAFC5738A9}"/>
              </a:ext>
            </a:extLst>
          </p:cNvPr>
          <p:cNvSpPr/>
          <p:nvPr/>
        </p:nvSpPr>
        <p:spPr>
          <a:xfrm>
            <a:off x="6895352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TextBox 3"/>
          <p:cNvSpPr txBox="1"/>
          <p:nvPr/>
        </p:nvSpPr>
        <p:spPr>
          <a:xfrm>
            <a:off x="875025" y="513878"/>
            <a:ext cx="10150100" cy="8084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199"/>
              </a:lnSpc>
            </a:pPr>
            <a:r>
              <a:rPr lang="en-US" sz="2650" b="1" dirty="0">
                <a:solidFill>
                  <a:srgbClr val="813158"/>
                </a:solidFill>
                <a:latin typeface="Aptos Display"/>
              </a:rPr>
              <a:t>Awareness:</a:t>
            </a:r>
          </a:p>
          <a:p>
            <a:pPr algn="ctr">
              <a:lnSpc>
                <a:spcPts val="3199"/>
              </a:lnSpc>
            </a:pPr>
            <a:r>
              <a:rPr lang="en-US" sz="2650" b="1" dirty="0">
                <a:solidFill>
                  <a:srgbClr val="813158"/>
                </a:solidFill>
                <a:latin typeface="Aptos Display"/>
              </a:rPr>
              <a:t>Parents or caregivers reporting an understanding of safe sleep</a:t>
            </a:r>
          </a:p>
        </p:txBody>
      </p:sp>
      <p:sp>
        <p:nvSpPr>
          <p:cNvPr id="7" name="TextBox 7"/>
          <p:cNvSpPr txBox="1"/>
          <p:nvPr/>
        </p:nvSpPr>
        <p:spPr>
          <a:xfrm rot="16200000">
            <a:off x="-794994" y="3030269"/>
            <a:ext cx="3045351" cy="8122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199"/>
              </a:lnSpc>
            </a:pPr>
            <a:r>
              <a:rPr lang="en-US" sz="2650" b="1" dirty="0">
                <a:solidFill>
                  <a:srgbClr val="813158"/>
                </a:solidFill>
                <a:latin typeface="Aptos Display"/>
              </a:rPr>
              <a:t>% Reporting Understanding</a:t>
            </a: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9B54FFC7-78AF-6982-F534-595A0198A551}"/>
              </a:ext>
            </a:extLst>
          </p:cNvPr>
          <p:cNvSpPr txBox="1"/>
          <p:nvPr/>
        </p:nvSpPr>
        <p:spPr>
          <a:xfrm>
            <a:off x="4575499" y="5711323"/>
            <a:ext cx="3036935" cy="2860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320"/>
              </a:lnSpc>
            </a:pPr>
            <a:r>
              <a:rPr lang="en-US" sz="1900" b="1" dirty="0">
                <a:solidFill>
                  <a:srgbClr val="813158"/>
                </a:solidFill>
                <a:latin typeface="Aptos"/>
              </a:rPr>
              <a:t>Month</a:t>
            </a:r>
            <a:endParaRPr lang="en-US" dirty="0"/>
          </a:p>
        </p:txBody>
      </p:sp>
      <p:pic>
        <p:nvPicPr>
          <p:cNvPr id="11" name="Picture 10" descr="A blue line on a black background&#10;&#10;Description automatically generated">
            <a:extLst>
              <a:ext uri="{FF2B5EF4-FFF2-40B4-BE49-F238E27FC236}">
                <a16:creationId xmlns:a16="http://schemas.microsoft.com/office/drawing/2014/main" id="{AF69FD0A-3EE8-0BDD-82BC-AD47654AEC1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11"/>
          <a:stretch/>
        </p:blipFill>
        <p:spPr>
          <a:xfrm>
            <a:off x="434462" y="515861"/>
            <a:ext cx="11372406" cy="566650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D539D45-A242-902B-D617-C855E7D80621}"/>
              </a:ext>
            </a:extLst>
          </p:cNvPr>
          <p:cNvSpPr txBox="1"/>
          <p:nvPr/>
        </p:nvSpPr>
        <p:spPr>
          <a:xfrm>
            <a:off x="10369176" y="2050789"/>
            <a:ext cx="1419411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rgbClr val="7B96E8"/>
                </a:solidFill>
                <a:latin typeface="Aptos Display"/>
              </a:rPr>
              <a:t>71%</a:t>
            </a:r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1E497A51-6F44-D7D2-F391-D2988901A320}"/>
              </a:ext>
            </a:extLst>
          </p:cNvPr>
          <p:cNvSpPr/>
          <p:nvPr/>
        </p:nvSpPr>
        <p:spPr>
          <a:xfrm>
            <a:off x="10401468" y="5835074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1856724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42AF140-6AE4-C56B-E11D-A2E4E984D177}"/>
              </a:ext>
            </a:extLst>
          </p:cNvPr>
          <p:cNvSpPr/>
          <p:nvPr/>
        </p:nvSpPr>
        <p:spPr>
          <a:xfrm>
            <a:off x="6895352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TextBox 3"/>
          <p:cNvSpPr txBox="1"/>
          <p:nvPr/>
        </p:nvSpPr>
        <p:spPr>
          <a:xfrm>
            <a:off x="888333" y="603829"/>
            <a:ext cx="10150100" cy="7181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800"/>
              </a:lnSpc>
            </a:pPr>
            <a:r>
              <a:rPr lang="en-US" sz="2500" b="1" dirty="0">
                <a:solidFill>
                  <a:srgbClr val="813158"/>
                </a:solidFill>
                <a:latin typeface="Aptos Display"/>
              </a:rPr>
              <a:t>Documentation of a conversation with parents or caregivers about adjustment to life with a newborn, safe sleep and resources shared</a:t>
            </a:r>
          </a:p>
        </p:txBody>
      </p:sp>
      <p:sp>
        <p:nvSpPr>
          <p:cNvPr id="7" name="TextBox 7"/>
          <p:cNvSpPr txBox="1"/>
          <p:nvPr/>
        </p:nvSpPr>
        <p:spPr>
          <a:xfrm rot="16200000">
            <a:off x="-823216" y="3227825"/>
            <a:ext cx="3045351" cy="8122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199"/>
              </a:lnSpc>
            </a:pPr>
            <a:r>
              <a:rPr lang="en-US" sz="2650" b="1" dirty="0">
                <a:solidFill>
                  <a:srgbClr val="813158"/>
                </a:solidFill>
                <a:latin typeface="Aptos Display"/>
              </a:rPr>
              <a:t>% Documenting Conversation</a:t>
            </a: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9B67A485-4F82-ABA5-39E6-5393BB507E80}"/>
              </a:ext>
            </a:extLst>
          </p:cNvPr>
          <p:cNvSpPr txBox="1"/>
          <p:nvPr/>
        </p:nvSpPr>
        <p:spPr>
          <a:xfrm>
            <a:off x="4575499" y="5995205"/>
            <a:ext cx="3036935" cy="2860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320"/>
              </a:lnSpc>
            </a:pPr>
            <a:r>
              <a:rPr lang="en-US" sz="1900" b="1" dirty="0">
                <a:solidFill>
                  <a:srgbClr val="813158"/>
                </a:solidFill>
                <a:latin typeface="Aptos"/>
              </a:rPr>
              <a:t>Month</a:t>
            </a:r>
            <a:endParaRPr lang="en-US" dirty="0"/>
          </a:p>
        </p:txBody>
      </p:sp>
      <p:pic>
        <p:nvPicPr>
          <p:cNvPr id="11" name="Picture 10" descr="A blue line in the sky&#10;&#10;Description automatically generated">
            <a:extLst>
              <a:ext uri="{FF2B5EF4-FFF2-40B4-BE49-F238E27FC236}">
                <a16:creationId xmlns:a16="http://schemas.microsoft.com/office/drawing/2014/main" id="{5497C403-FA1B-A209-546B-AB96EF70BB5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2"/>
          <a:stretch/>
        </p:blipFill>
        <p:spPr>
          <a:xfrm>
            <a:off x="287135" y="958665"/>
            <a:ext cx="11352496" cy="534974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CB5CD7E-AEA7-6AD1-DE1A-9876F0A73F63}"/>
              </a:ext>
            </a:extLst>
          </p:cNvPr>
          <p:cNvSpPr txBox="1"/>
          <p:nvPr/>
        </p:nvSpPr>
        <p:spPr>
          <a:xfrm>
            <a:off x="10215237" y="4082789"/>
            <a:ext cx="1419411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rgbClr val="7B96E8"/>
                </a:solidFill>
                <a:latin typeface="Aptos Display"/>
              </a:rPr>
              <a:t>43%</a:t>
            </a:r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C2733946-7D01-FD61-5B8C-5F0DCC58FBBF}"/>
              </a:ext>
            </a:extLst>
          </p:cNvPr>
          <p:cNvSpPr/>
          <p:nvPr/>
        </p:nvSpPr>
        <p:spPr>
          <a:xfrm>
            <a:off x="10401468" y="5835074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9172034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5F0D099-04FE-7AD2-DC4C-E8A19AF70F83}"/>
              </a:ext>
            </a:extLst>
          </p:cNvPr>
          <p:cNvSpPr/>
          <p:nvPr/>
        </p:nvSpPr>
        <p:spPr>
          <a:xfrm>
            <a:off x="6895352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TextBox 3"/>
          <p:cNvSpPr txBox="1"/>
          <p:nvPr/>
        </p:nvSpPr>
        <p:spPr>
          <a:xfrm>
            <a:off x="875025" y="513878"/>
            <a:ext cx="10150100" cy="8084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199"/>
              </a:lnSpc>
            </a:pPr>
            <a:r>
              <a:rPr lang="en-US" sz="2650" b="1" dirty="0">
                <a:solidFill>
                  <a:srgbClr val="813158"/>
                </a:solidFill>
                <a:latin typeface="Aptos Display"/>
              </a:rPr>
              <a:t>Readiness: </a:t>
            </a:r>
          </a:p>
          <a:p>
            <a:pPr algn="ctr">
              <a:lnSpc>
                <a:spcPts val="3199"/>
              </a:lnSpc>
            </a:pPr>
            <a:r>
              <a:rPr lang="en-US" sz="2650" b="1" dirty="0" err="1">
                <a:solidFill>
                  <a:srgbClr val="813158"/>
                </a:solidFill>
                <a:latin typeface="Aptos Display"/>
              </a:rPr>
              <a:t>SDoH</a:t>
            </a:r>
            <a:r>
              <a:rPr lang="en-US" sz="2650" b="1" dirty="0">
                <a:solidFill>
                  <a:srgbClr val="813158"/>
                </a:solidFill>
                <a:latin typeface="Aptos Display"/>
              </a:rPr>
              <a:t> Screening and Linkage Documentation in Infant’s Chart​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769F2AC-EAAD-FDAA-1C43-70C0D913C629}"/>
              </a:ext>
            </a:extLst>
          </p:cNvPr>
          <p:cNvSpPr/>
          <p:nvPr/>
        </p:nvSpPr>
        <p:spPr>
          <a:xfrm>
            <a:off x="8494059" y="2786529"/>
            <a:ext cx="2696883" cy="971177"/>
          </a:xfrm>
          <a:prstGeom prst="rect">
            <a:avLst/>
          </a:prstGeom>
          <a:solidFill>
            <a:srgbClr val="DEF0FF"/>
          </a:solidFill>
          <a:ln>
            <a:solidFill>
              <a:srgbClr val="7B96E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C16EC43-E2DE-B484-34D0-4C772589880E}"/>
              </a:ext>
            </a:extLst>
          </p:cNvPr>
          <p:cNvSpPr txBox="1"/>
          <p:nvPr/>
        </p:nvSpPr>
        <p:spPr>
          <a:xfrm>
            <a:off x="8494059" y="2786528"/>
            <a:ext cx="3296024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 b="1" i="1" dirty="0">
                <a:solidFill>
                  <a:srgbClr val="803158"/>
                </a:solidFill>
                <a:latin typeface="Aptos Display"/>
              </a:rPr>
              <a:t>More to come in September!</a:t>
            </a:r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F793CAA1-CF79-B1C2-028D-EAE66097FD14}"/>
              </a:ext>
            </a:extLst>
          </p:cNvPr>
          <p:cNvSpPr txBox="1"/>
          <p:nvPr/>
        </p:nvSpPr>
        <p:spPr>
          <a:xfrm rot="16200000">
            <a:off x="-706760" y="3335930"/>
            <a:ext cx="3526120" cy="2921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320"/>
              </a:lnSpc>
            </a:pPr>
            <a:r>
              <a:rPr lang="en-US" sz="1900" b="1" dirty="0">
                <a:solidFill>
                  <a:srgbClr val="813158"/>
                </a:solidFill>
                <a:latin typeface="Aptos"/>
              </a:rPr>
              <a:t>% Screened and Linked to Care</a:t>
            </a:r>
          </a:p>
        </p:txBody>
      </p:sp>
      <p:pic>
        <p:nvPicPr>
          <p:cNvPr id="6" name="Picture 5" descr="A screenshot of a video game&#10;&#10;Description automatically generated">
            <a:extLst>
              <a:ext uri="{FF2B5EF4-FFF2-40B4-BE49-F238E27FC236}">
                <a16:creationId xmlns:a16="http://schemas.microsoft.com/office/drawing/2014/main" id="{842BF8EA-DE53-D286-9C54-99B4470B1B5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2"/>
          <a:stretch/>
        </p:blipFill>
        <p:spPr>
          <a:xfrm>
            <a:off x="363063" y="1551298"/>
            <a:ext cx="10662062" cy="438702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70B9C64-7CE5-75F8-563F-EC2B80D61EA2}"/>
              </a:ext>
            </a:extLst>
          </p:cNvPr>
          <p:cNvSpPr/>
          <p:nvPr/>
        </p:nvSpPr>
        <p:spPr>
          <a:xfrm>
            <a:off x="7971670" y="1288538"/>
            <a:ext cx="682867" cy="551994"/>
          </a:xfrm>
          <a:prstGeom prst="rect">
            <a:avLst/>
          </a:prstGeom>
          <a:solidFill>
            <a:srgbClr val="F2F9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F69275-13F2-C537-D32D-C06C489DB69D}"/>
              </a:ext>
            </a:extLst>
          </p:cNvPr>
          <p:cNvSpPr txBox="1"/>
          <p:nvPr/>
        </p:nvSpPr>
        <p:spPr>
          <a:xfrm>
            <a:off x="9908943" y="4222466"/>
            <a:ext cx="1419411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rgbClr val="C55FD2"/>
                </a:solidFill>
                <a:latin typeface="Aptos Display"/>
              </a:rPr>
              <a:t>33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DACE0F4-ADAB-3960-AB8B-3AD5C3985115}"/>
              </a:ext>
            </a:extLst>
          </p:cNvPr>
          <p:cNvSpPr txBox="1"/>
          <p:nvPr/>
        </p:nvSpPr>
        <p:spPr>
          <a:xfrm>
            <a:off x="9908943" y="5138405"/>
            <a:ext cx="1419411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rgbClr val="3966C9"/>
                </a:solidFill>
                <a:latin typeface="Aptos Display"/>
              </a:rPr>
              <a:t>5%</a:t>
            </a:r>
          </a:p>
        </p:txBody>
      </p:sp>
      <p:sp>
        <p:nvSpPr>
          <p:cNvPr id="15" name="Freeform 8">
            <a:extLst>
              <a:ext uri="{FF2B5EF4-FFF2-40B4-BE49-F238E27FC236}">
                <a16:creationId xmlns:a16="http://schemas.microsoft.com/office/drawing/2014/main" id="{72B672D8-088C-3A65-2C3C-3A0636230AF4}"/>
              </a:ext>
            </a:extLst>
          </p:cNvPr>
          <p:cNvSpPr/>
          <p:nvPr/>
        </p:nvSpPr>
        <p:spPr>
          <a:xfrm>
            <a:off x="10401468" y="5835074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FB6E08E-90FF-9D81-7BDB-FA3236D40661}"/>
              </a:ext>
            </a:extLst>
          </p:cNvPr>
          <p:cNvSpPr/>
          <p:nvPr/>
        </p:nvSpPr>
        <p:spPr>
          <a:xfrm>
            <a:off x="7478611" y="1512655"/>
            <a:ext cx="667926" cy="596818"/>
          </a:xfrm>
          <a:prstGeom prst="rect">
            <a:avLst/>
          </a:prstGeom>
          <a:solidFill>
            <a:srgbClr val="F2F9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4200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AC9D3-DE84-0FCC-2446-277F1A255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940" y="410368"/>
            <a:ext cx="10972800" cy="1325563"/>
          </a:xfrm>
        </p:spPr>
        <p:txBody>
          <a:bodyPr/>
          <a:lstStyle/>
          <a:p>
            <a:r>
              <a:rPr lang="en-US" sz="4800" dirty="0">
                <a:latin typeface="Aptos"/>
              </a:rPr>
              <a:t>Equity and Safe Sleep in Infa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9E75B-12C7-FA4C-EB7E-8A8B44E7BA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0840" y="1735931"/>
            <a:ext cx="10972800" cy="4351338"/>
          </a:xfrm>
        </p:spPr>
        <p:txBody>
          <a:bodyPr/>
          <a:lstStyle/>
          <a:p>
            <a:endParaRPr lang="en-US" sz="3600" b="1" dirty="0">
              <a:latin typeface="Aptos"/>
            </a:endParaRPr>
          </a:p>
          <a:p>
            <a:r>
              <a:rPr lang="en-US" sz="3600" b="1" dirty="0">
                <a:latin typeface="Aptos"/>
              </a:rPr>
              <a:t>What will we do next?</a:t>
            </a:r>
          </a:p>
          <a:p>
            <a:endParaRPr lang="en-US" dirty="0">
              <a:latin typeface="Aptos"/>
            </a:endParaRPr>
          </a:p>
          <a:p>
            <a:endParaRPr lang="en-US" dirty="0">
              <a:latin typeface="Apto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1C6C9F-1260-D9EE-2C04-0550683AD0B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40462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6612012-B54E-4301-A67F-F656371F748C}"/>
              </a:ext>
            </a:extLst>
          </p:cNvPr>
          <p:cNvSpPr/>
          <p:nvPr/>
        </p:nvSpPr>
        <p:spPr>
          <a:xfrm>
            <a:off x="6663764" y="-277"/>
            <a:ext cx="5635037" cy="16557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2"/>
          <p:cNvGrpSpPr/>
          <p:nvPr/>
        </p:nvGrpSpPr>
        <p:grpSpPr>
          <a:xfrm rot="20621884">
            <a:off x="-1299081" y="5661924"/>
            <a:ext cx="2834417" cy="2164567"/>
            <a:chOff x="0" y="0"/>
            <a:chExt cx="5668835" cy="4329133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5668772" cy="4329176"/>
            </a:xfrm>
            <a:custGeom>
              <a:avLst/>
              <a:gdLst/>
              <a:ahLst/>
              <a:cxnLst/>
              <a:rect l="l" t="t" r="r" b="b"/>
              <a:pathLst>
                <a:path w="5668772" h="4329176">
                  <a:moveTo>
                    <a:pt x="3632327" y="0"/>
                  </a:moveTo>
                  <a:cubicBezTo>
                    <a:pt x="2572258" y="0"/>
                    <a:pt x="368935" y="954151"/>
                    <a:pt x="352425" y="995934"/>
                  </a:cubicBezTo>
                  <a:cubicBezTo>
                    <a:pt x="0" y="1885823"/>
                    <a:pt x="103886" y="3375787"/>
                    <a:pt x="783463" y="4136390"/>
                  </a:cubicBezTo>
                  <a:cubicBezTo>
                    <a:pt x="904494" y="4271899"/>
                    <a:pt x="1116203" y="4329176"/>
                    <a:pt x="1384173" y="4329176"/>
                  </a:cubicBezTo>
                  <a:cubicBezTo>
                    <a:pt x="2621280" y="4329176"/>
                    <a:pt x="5059172" y="3110357"/>
                    <a:pt x="5334254" y="2753487"/>
                  </a:cubicBezTo>
                  <a:cubicBezTo>
                    <a:pt x="5668772" y="2319274"/>
                    <a:pt x="4789043" y="291084"/>
                    <a:pt x="3933444" y="36322"/>
                  </a:cubicBezTo>
                  <a:cubicBezTo>
                    <a:pt x="3849370" y="11303"/>
                    <a:pt x="3747643" y="0"/>
                    <a:pt x="3632327" y="0"/>
                  </a:cubicBezTo>
                  <a:close/>
                </a:path>
              </a:pathLst>
            </a:custGeom>
            <a:solidFill>
              <a:srgbClr val="8BAFAE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4" name="Freeform 4"/>
          <p:cNvSpPr/>
          <p:nvPr/>
        </p:nvSpPr>
        <p:spPr>
          <a:xfrm>
            <a:off x="-911161" y="5683299"/>
            <a:ext cx="1968729" cy="2114919"/>
          </a:xfrm>
          <a:custGeom>
            <a:avLst/>
            <a:gdLst/>
            <a:ahLst/>
            <a:cxnLst/>
            <a:rect l="l" t="t" r="r" b="b"/>
            <a:pathLst>
              <a:path w="2953093" h="3172378">
                <a:moveTo>
                  <a:pt x="0" y="0"/>
                </a:moveTo>
                <a:lnTo>
                  <a:pt x="2953093" y="0"/>
                </a:lnTo>
                <a:lnTo>
                  <a:pt x="2953093" y="3172378"/>
                </a:lnTo>
                <a:lnTo>
                  <a:pt x="0" y="317237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5" name="Freeform 5"/>
          <p:cNvSpPr/>
          <p:nvPr/>
        </p:nvSpPr>
        <p:spPr>
          <a:xfrm>
            <a:off x="10680501" y="5216103"/>
            <a:ext cx="2707577" cy="2873196"/>
          </a:xfrm>
          <a:custGeom>
            <a:avLst/>
            <a:gdLst/>
            <a:ahLst/>
            <a:cxnLst/>
            <a:rect l="l" t="t" r="r" b="b"/>
            <a:pathLst>
              <a:path w="4061366" h="4309794">
                <a:moveTo>
                  <a:pt x="0" y="0"/>
                </a:moveTo>
                <a:lnTo>
                  <a:pt x="4061366" y="0"/>
                </a:lnTo>
                <a:lnTo>
                  <a:pt x="4061366" y="4309794"/>
                </a:lnTo>
                <a:lnTo>
                  <a:pt x="0" y="4309794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6" name="Freeform 6"/>
          <p:cNvSpPr/>
          <p:nvPr/>
        </p:nvSpPr>
        <p:spPr>
          <a:xfrm>
            <a:off x="6535097" y="-888577"/>
            <a:ext cx="1853545" cy="1777153"/>
          </a:xfrm>
          <a:custGeom>
            <a:avLst/>
            <a:gdLst/>
            <a:ahLst/>
            <a:cxnLst/>
            <a:rect l="l" t="t" r="r" b="b"/>
            <a:pathLst>
              <a:path w="2780318" h="2665730">
                <a:moveTo>
                  <a:pt x="0" y="0"/>
                </a:moveTo>
                <a:lnTo>
                  <a:pt x="2780318" y="0"/>
                </a:lnTo>
                <a:lnTo>
                  <a:pt x="2780318" y="2665730"/>
                </a:lnTo>
                <a:lnTo>
                  <a:pt x="0" y="2665730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7" name="Freeform 7"/>
          <p:cNvSpPr/>
          <p:nvPr/>
        </p:nvSpPr>
        <p:spPr>
          <a:xfrm>
            <a:off x="10352568" y="286700"/>
            <a:ext cx="2392813" cy="2426590"/>
          </a:xfrm>
          <a:custGeom>
            <a:avLst/>
            <a:gdLst/>
            <a:ahLst/>
            <a:cxnLst/>
            <a:rect l="l" t="t" r="r" b="b"/>
            <a:pathLst>
              <a:path w="3589220" h="3639885">
                <a:moveTo>
                  <a:pt x="0" y="0"/>
                </a:moveTo>
                <a:lnTo>
                  <a:pt x="3589220" y="0"/>
                </a:lnTo>
                <a:lnTo>
                  <a:pt x="3589220" y="3639885"/>
                </a:lnTo>
                <a:lnTo>
                  <a:pt x="0" y="363988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8" name="Freeform 8"/>
          <p:cNvSpPr/>
          <p:nvPr/>
        </p:nvSpPr>
        <p:spPr>
          <a:xfrm>
            <a:off x="10412942" y="-76529"/>
            <a:ext cx="2335267" cy="2409093"/>
          </a:xfrm>
          <a:custGeom>
            <a:avLst/>
            <a:gdLst/>
            <a:ahLst/>
            <a:cxnLst/>
            <a:rect l="l" t="t" r="r" b="b"/>
            <a:pathLst>
              <a:path w="3502900" h="3613639">
                <a:moveTo>
                  <a:pt x="0" y="0"/>
                </a:moveTo>
                <a:lnTo>
                  <a:pt x="3502900" y="0"/>
                </a:lnTo>
                <a:lnTo>
                  <a:pt x="3502900" y="3613638"/>
                </a:lnTo>
                <a:lnTo>
                  <a:pt x="0" y="3613638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grpSp>
        <p:nvGrpSpPr>
          <p:cNvPr id="9" name="Group 9"/>
          <p:cNvGrpSpPr/>
          <p:nvPr/>
        </p:nvGrpSpPr>
        <p:grpSpPr>
          <a:xfrm>
            <a:off x="-4411800" y="1921533"/>
            <a:ext cx="40267" cy="16167"/>
            <a:chOff x="0" y="0"/>
            <a:chExt cx="80533" cy="32333"/>
          </a:xfrm>
        </p:grpSpPr>
        <p:sp>
          <p:nvSpPr>
            <p:cNvPr id="10" name="Freeform 10"/>
            <p:cNvSpPr/>
            <p:nvPr/>
          </p:nvSpPr>
          <p:spPr>
            <a:xfrm>
              <a:off x="0" y="127"/>
              <a:ext cx="80391" cy="32258"/>
            </a:xfrm>
            <a:custGeom>
              <a:avLst/>
              <a:gdLst/>
              <a:ahLst/>
              <a:cxnLst/>
              <a:rect l="l" t="t" r="r" b="b"/>
              <a:pathLst>
                <a:path w="80391" h="32258">
                  <a:moveTo>
                    <a:pt x="6096" y="0"/>
                  </a:moveTo>
                  <a:cubicBezTo>
                    <a:pt x="0" y="22733"/>
                    <a:pt x="32639" y="32258"/>
                    <a:pt x="57785" y="32258"/>
                  </a:cubicBezTo>
                  <a:cubicBezTo>
                    <a:pt x="67183" y="32258"/>
                    <a:pt x="75565" y="30988"/>
                    <a:pt x="80391" y="28448"/>
                  </a:cubicBezTo>
                  <a:lnTo>
                    <a:pt x="609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11" name="TextBox 11"/>
          <p:cNvSpPr txBox="1"/>
          <p:nvPr/>
        </p:nvSpPr>
        <p:spPr>
          <a:xfrm>
            <a:off x="2716010" y="1567877"/>
            <a:ext cx="6605431" cy="71173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5400"/>
              </a:lnSpc>
            </a:pPr>
            <a:r>
              <a:rPr lang="en-US" sz="5000">
                <a:solidFill>
                  <a:srgbClr val="8BAFAE"/>
                </a:solidFill>
                <a:latin typeface="Dreaming Outloud Script Pro"/>
                <a:cs typeface="Dreaming Outloud Script Pro"/>
              </a:rPr>
              <a:t>Fresh Off the Press!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356964" y="2326181"/>
            <a:ext cx="9823780" cy="20396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40"/>
              </a:lnSpc>
            </a:pPr>
            <a:endParaRPr lang="en-US" sz="800" b="1" dirty="0">
              <a:latin typeface="Aptos"/>
            </a:endParaRPr>
          </a:p>
          <a:p>
            <a:pPr marL="647700" lvl="1" indent="-323850">
              <a:lnSpc>
                <a:spcPts val="3240"/>
              </a:lnSpc>
              <a:buFont typeface="Arial"/>
              <a:buChar char="•"/>
            </a:pPr>
            <a:r>
              <a:rPr lang="en-US" sz="3000" b="1" dirty="0">
                <a:solidFill>
                  <a:srgbClr val="8BAFAE"/>
                </a:solidFill>
                <a:latin typeface="Aptos"/>
              </a:rPr>
              <a:t>ILPQC Initiative and ESSI Key Strategies Poster  </a:t>
            </a:r>
          </a:p>
          <a:p>
            <a:pPr marL="1295400" lvl="2" indent="-431800" algn="l">
              <a:lnSpc>
                <a:spcPts val="3240"/>
              </a:lnSpc>
              <a:buFont typeface="Arial"/>
              <a:buChar char="⚬"/>
            </a:pPr>
            <a:r>
              <a:rPr lang="en-US" sz="3000" b="1" dirty="0">
                <a:solidFill>
                  <a:srgbClr val="8BAFAE"/>
                </a:solidFill>
                <a:latin typeface="Aptos"/>
              </a:rPr>
              <a:t>English and Spanish</a:t>
            </a:r>
          </a:p>
          <a:p>
            <a:pPr marL="647700" lvl="1" indent="-323850">
              <a:lnSpc>
                <a:spcPts val="3240"/>
              </a:lnSpc>
              <a:buFont typeface="Arial"/>
              <a:buChar char="•"/>
            </a:pPr>
            <a:r>
              <a:rPr lang="en-US" sz="3000" b="1" dirty="0">
                <a:solidFill>
                  <a:srgbClr val="8BAFAE"/>
                </a:solidFill>
                <a:latin typeface="Aptos"/>
              </a:rPr>
              <a:t>ILPQC ESSI Respectful Care Practices </a:t>
            </a:r>
          </a:p>
          <a:p>
            <a:pPr marL="1295400" lvl="2" indent="-431800" algn="l">
              <a:lnSpc>
                <a:spcPts val="3240"/>
              </a:lnSpc>
              <a:buFont typeface="Arial"/>
              <a:buChar char="⚬"/>
            </a:pPr>
            <a:r>
              <a:rPr lang="en-US" sz="3000" b="1" dirty="0">
                <a:solidFill>
                  <a:srgbClr val="8BAFAE"/>
                </a:solidFill>
                <a:latin typeface="Aptos"/>
              </a:rPr>
              <a:t>English and Spanish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527561" y="4619801"/>
            <a:ext cx="9823780" cy="8204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40"/>
              </a:lnSpc>
            </a:pPr>
            <a:r>
              <a:rPr lang="en-US" sz="3000" b="1">
                <a:solidFill>
                  <a:srgbClr val="8BAFAE"/>
                </a:solidFill>
                <a:latin typeface="Aptos"/>
              </a:rPr>
              <a:t>4 Posters included in your hospital’s Safe Sleep Starter Pack Order!</a:t>
            </a:r>
          </a:p>
        </p:txBody>
      </p:sp>
      <p:sp>
        <p:nvSpPr>
          <p:cNvPr id="14" name="Freeform 14"/>
          <p:cNvSpPr/>
          <p:nvPr/>
        </p:nvSpPr>
        <p:spPr>
          <a:xfrm>
            <a:off x="10354172" y="3349565"/>
            <a:ext cx="1068164" cy="967353"/>
          </a:xfrm>
          <a:custGeom>
            <a:avLst/>
            <a:gdLst/>
            <a:ahLst/>
            <a:cxnLst/>
            <a:rect l="l" t="t" r="r" b="b"/>
            <a:pathLst>
              <a:path w="1602246" h="1451030">
                <a:moveTo>
                  <a:pt x="0" y="0"/>
                </a:moveTo>
                <a:lnTo>
                  <a:pt x="1602246" y="0"/>
                </a:lnTo>
                <a:lnTo>
                  <a:pt x="1602246" y="1451030"/>
                </a:lnTo>
                <a:lnTo>
                  <a:pt x="0" y="1451030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15" name="Freeform 15"/>
          <p:cNvSpPr/>
          <p:nvPr/>
        </p:nvSpPr>
        <p:spPr>
          <a:xfrm>
            <a:off x="3045631" y="5124871"/>
            <a:ext cx="1114564" cy="1114564"/>
          </a:xfrm>
          <a:custGeom>
            <a:avLst/>
            <a:gdLst/>
            <a:ahLst/>
            <a:cxnLst/>
            <a:rect l="l" t="t" r="r" b="b"/>
            <a:pathLst>
              <a:path w="1671846" h="1671846">
                <a:moveTo>
                  <a:pt x="0" y="0"/>
                </a:moveTo>
                <a:lnTo>
                  <a:pt x="1671846" y="0"/>
                </a:lnTo>
                <a:lnTo>
                  <a:pt x="1671846" y="1671846"/>
                </a:lnTo>
                <a:lnTo>
                  <a:pt x="0" y="1671846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16" name="Freeform 16"/>
          <p:cNvSpPr/>
          <p:nvPr/>
        </p:nvSpPr>
        <p:spPr>
          <a:xfrm>
            <a:off x="1365477" y="1503002"/>
            <a:ext cx="827878" cy="860505"/>
          </a:xfrm>
          <a:custGeom>
            <a:avLst/>
            <a:gdLst/>
            <a:ahLst/>
            <a:cxnLst/>
            <a:rect l="l" t="t" r="r" b="b"/>
            <a:pathLst>
              <a:path w="1241817" h="1290757">
                <a:moveTo>
                  <a:pt x="0" y="0"/>
                </a:moveTo>
                <a:lnTo>
                  <a:pt x="1241817" y="0"/>
                </a:lnTo>
                <a:lnTo>
                  <a:pt x="1241817" y="1290757"/>
                </a:lnTo>
                <a:lnTo>
                  <a:pt x="0" y="1290757"/>
                </a:lnTo>
                <a:lnTo>
                  <a:pt x="0" y="0"/>
                </a:lnTo>
                <a:close/>
              </a:path>
            </a:pathLst>
          </a:custGeom>
          <a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19" name="Freeform 8">
            <a:extLst>
              <a:ext uri="{FF2B5EF4-FFF2-40B4-BE49-F238E27FC236}">
                <a16:creationId xmlns:a16="http://schemas.microsoft.com/office/drawing/2014/main" id="{DDB7BE00-04B2-F19A-5472-E6EC94573581}"/>
              </a:ext>
            </a:extLst>
          </p:cNvPr>
          <p:cNvSpPr/>
          <p:nvPr/>
        </p:nvSpPr>
        <p:spPr>
          <a:xfrm>
            <a:off x="32291" y="545"/>
            <a:ext cx="2677165" cy="1439124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19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1342212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6612012-B54E-4301-A67F-F656371F748C}"/>
              </a:ext>
            </a:extLst>
          </p:cNvPr>
          <p:cNvSpPr/>
          <p:nvPr/>
        </p:nvSpPr>
        <p:spPr>
          <a:xfrm>
            <a:off x="6663764" y="-22689"/>
            <a:ext cx="5635037" cy="1655703"/>
          </a:xfrm>
          <a:prstGeom prst="rect">
            <a:avLst/>
          </a:prstGeom>
          <a:solidFill>
            <a:srgbClr val="FFE8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2"/>
          <p:cNvGrpSpPr/>
          <p:nvPr/>
        </p:nvGrpSpPr>
        <p:grpSpPr>
          <a:xfrm rot="20621884">
            <a:off x="-1299081" y="5661924"/>
            <a:ext cx="2834417" cy="2164567"/>
            <a:chOff x="0" y="0"/>
            <a:chExt cx="5668835" cy="4329133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5668772" cy="4329176"/>
            </a:xfrm>
            <a:custGeom>
              <a:avLst/>
              <a:gdLst/>
              <a:ahLst/>
              <a:cxnLst/>
              <a:rect l="l" t="t" r="r" b="b"/>
              <a:pathLst>
                <a:path w="5668772" h="4329176">
                  <a:moveTo>
                    <a:pt x="3632327" y="0"/>
                  </a:moveTo>
                  <a:cubicBezTo>
                    <a:pt x="2572258" y="0"/>
                    <a:pt x="368935" y="954151"/>
                    <a:pt x="352425" y="995934"/>
                  </a:cubicBezTo>
                  <a:cubicBezTo>
                    <a:pt x="0" y="1885823"/>
                    <a:pt x="103886" y="3375787"/>
                    <a:pt x="783463" y="4136390"/>
                  </a:cubicBezTo>
                  <a:cubicBezTo>
                    <a:pt x="904494" y="4271899"/>
                    <a:pt x="1116203" y="4329176"/>
                    <a:pt x="1384173" y="4329176"/>
                  </a:cubicBezTo>
                  <a:cubicBezTo>
                    <a:pt x="2621280" y="4329176"/>
                    <a:pt x="5059172" y="3110357"/>
                    <a:pt x="5334254" y="2753487"/>
                  </a:cubicBezTo>
                  <a:cubicBezTo>
                    <a:pt x="5668772" y="2319274"/>
                    <a:pt x="4789043" y="291084"/>
                    <a:pt x="3933444" y="36322"/>
                  </a:cubicBezTo>
                  <a:cubicBezTo>
                    <a:pt x="3849370" y="11303"/>
                    <a:pt x="3747643" y="0"/>
                    <a:pt x="3632327" y="0"/>
                  </a:cubicBezTo>
                  <a:close/>
                </a:path>
              </a:pathLst>
            </a:custGeom>
            <a:solidFill>
              <a:srgbClr val="8BAFAE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4" name="Freeform 4"/>
          <p:cNvSpPr/>
          <p:nvPr/>
        </p:nvSpPr>
        <p:spPr>
          <a:xfrm>
            <a:off x="-911161" y="5683299"/>
            <a:ext cx="1968729" cy="2114919"/>
          </a:xfrm>
          <a:custGeom>
            <a:avLst/>
            <a:gdLst/>
            <a:ahLst/>
            <a:cxnLst/>
            <a:rect l="l" t="t" r="r" b="b"/>
            <a:pathLst>
              <a:path w="2953093" h="3172378">
                <a:moveTo>
                  <a:pt x="0" y="0"/>
                </a:moveTo>
                <a:lnTo>
                  <a:pt x="2953093" y="0"/>
                </a:lnTo>
                <a:lnTo>
                  <a:pt x="2953093" y="3172378"/>
                </a:lnTo>
                <a:lnTo>
                  <a:pt x="0" y="317237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5" name="Freeform 5"/>
          <p:cNvSpPr/>
          <p:nvPr/>
        </p:nvSpPr>
        <p:spPr>
          <a:xfrm>
            <a:off x="10680501" y="5216103"/>
            <a:ext cx="2707577" cy="2873196"/>
          </a:xfrm>
          <a:custGeom>
            <a:avLst/>
            <a:gdLst/>
            <a:ahLst/>
            <a:cxnLst/>
            <a:rect l="l" t="t" r="r" b="b"/>
            <a:pathLst>
              <a:path w="4061366" h="4309794">
                <a:moveTo>
                  <a:pt x="0" y="0"/>
                </a:moveTo>
                <a:lnTo>
                  <a:pt x="4061366" y="0"/>
                </a:lnTo>
                <a:lnTo>
                  <a:pt x="4061366" y="4309794"/>
                </a:lnTo>
                <a:lnTo>
                  <a:pt x="0" y="4309794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6" name="Freeform 6"/>
          <p:cNvSpPr/>
          <p:nvPr/>
        </p:nvSpPr>
        <p:spPr>
          <a:xfrm>
            <a:off x="10180744" y="-888577"/>
            <a:ext cx="1853545" cy="1777153"/>
          </a:xfrm>
          <a:custGeom>
            <a:avLst/>
            <a:gdLst/>
            <a:ahLst/>
            <a:cxnLst/>
            <a:rect l="l" t="t" r="r" b="b"/>
            <a:pathLst>
              <a:path w="2780318" h="2665730">
                <a:moveTo>
                  <a:pt x="0" y="0"/>
                </a:moveTo>
                <a:lnTo>
                  <a:pt x="2780318" y="0"/>
                </a:lnTo>
                <a:lnTo>
                  <a:pt x="2780318" y="2665730"/>
                </a:lnTo>
                <a:lnTo>
                  <a:pt x="0" y="2665730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7" name="Freeform 7"/>
          <p:cNvSpPr/>
          <p:nvPr/>
        </p:nvSpPr>
        <p:spPr>
          <a:xfrm>
            <a:off x="10180744" y="1937700"/>
            <a:ext cx="2392813" cy="2426590"/>
          </a:xfrm>
          <a:custGeom>
            <a:avLst/>
            <a:gdLst/>
            <a:ahLst/>
            <a:cxnLst/>
            <a:rect l="l" t="t" r="r" b="b"/>
            <a:pathLst>
              <a:path w="3589220" h="3639885">
                <a:moveTo>
                  <a:pt x="0" y="0"/>
                </a:moveTo>
                <a:lnTo>
                  <a:pt x="3589220" y="0"/>
                </a:lnTo>
                <a:lnTo>
                  <a:pt x="3589220" y="3639885"/>
                </a:lnTo>
                <a:lnTo>
                  <a:pt x="0" y="363988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8" name="Freeform 8"/>
          <p:cNvSpPr/>
          <p:nvPr/>
        </p:nvSpPr>
        <p:spPr>
          <a:xfrm>
            <a:off x="9845177" y="2627824"/>
            <a:ext cx="2335267" cy="2409093"/>
          </a:xfrm>
          <a:custGeom>
            <a:avLst/>
            <a:gdLst/>
            <a:ahLst/>
            <a:cxnLst/>
            <a:rect l="l" t="t" r="r" b="b"/>
            <a:pathLst>
              <a:path w="3502900" h="3613639">
                <a:moveTo>
                  <a:pt x="0" y="0"/>
                </a:moveTo>
                <a:lnTo>
                  <a:pt x="3502900" y="0"/>
                </a:lnTo>
                <a:lnTo>
                  <a:pt x="3502900" y="3613638"/>
                </a:lnTo>
                <a:lnTo>
                  <a:pt x="0" y="3613638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grpSp>
        <p:nvGrpSpPr>
          <p:cNvPr id="9" name="Group 9"/>
          <p:cNvGrpSpPr/>
          <p:nvPr/>
        </p:nvGrpSpPr>
        <p:grpSpPr>
          <a:xfrm>
            <a:off x="-4411800" y="1921533"/>
            <a:ext cx="40267" cy="16167"/>
            <a:chOff x="0" y="0"/>
            <a:chExt cx="80533" cy="32333"/>
          </a:xfrm>
        </p:grpSpPr>
        <p:sp>
          <p:nvSpPr>
            <p:cNvPr id="10" name="Freeform 10"/>
            <p:cNvSpPr/>
            <p:nvPr/>
          </p:nvSpPr>
          <p:spPr>
            <a:xfrm>
              <a:off x="0" y="127"/>
              <a:ext cx="80391" cy="32258"/>
            </a:xfrm>
            <a:custGeom>
              <a:avLst/>
              <a:gdLst/>
              <a:ahLst/>
              <a:cxnLst/>
              <a:rect l="l" t="t" r="r" b="b"/>
              <a:pathLst>
                <a:path w="80391" h="32258">
                  <a:moveTo>
                    <a:pt x="6096" y="0"/>
                  </a:moveTo>
                  <a:cubicBezTo>
                    <a:pt x="0" y="22733"/>
                    <a:pt x="32639" y="32258"/>
                    <a:pt x="57785" y="32258"/>
                  </a:cubicBezTo>
                  <a:cubicBezTo>
                    <a:pt x="67183" y="32258"/>
                    <a:pt x="75565" y="30988"/>
                    <a:pt x="80391" y="28448"/>
                  </a:cubicBezTo>
                  <a:lnTo>
                    <a:pt x="609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11" name="TextBox 11"/>
          <p:cNvSpPr txBox="1"/>
          <p:nvPr/>
        </p:nvSpPr>
        <p:spPr>
          <a:xfrm>
            <a:off x="494806" y="1013695"/>
            <a:ext cx="6605431" cy="140423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5400"/>
              </a:lnSpc>
            </a:pPr>
            <a:r>
              <a:rPr lang="en-US" sz="5000">
                <a:solidFill>
                  <a:srgbClr val="8BAFAE"/>
                </a:solidFill>
                <a:latin typeface="Dreaming Outloud Script Pro"/>
                <a:cs typeface="Dreaming Outloud Script Pro"/>
              </a:rPr>
              <a:t>Pick up your Safe Sleep Starter Pack!</a:t>
            </a:r>
          </a:p>
        </p:txBody>
      </p:sp>
      <p:sp>
        <p:nvSpPr>
          <p:cNvPr id="16" name="Freeform 16"/>
          <p:cNvSpPr/>
          <p:nvPr/>
        </p:nvSpPr>
        <p:spPr>
          <a:xfrm>
            <a:off x="7371830" y="203120"/>
            <a:ext cx="827878" cy="860505"/>
          </a:xfrm>
          <a:custGeom>
            <a:avLst/>
            <a:gdLst/>
            <a:ahLst/>
            <a:cxnLst/>
            <a:rect l="l" t="t" r="r" b="b"/>
            <a:pathLst>
              <a:path w="1241817" h="1290757">
                <a:moveTo>
                  <a:pt x="0" y="0"/>
                </a:moveTo>
                <a:lnTo>
                  <a:pt x="1241817" y="0"/>
                </a:lnTo>
                <a:lnTo>
                  <a:pt x="1241817" y="1290757"/>
                </a:lnTo>
                <a:lnTo>
                  <a:pt x="0" y="1290757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pic>
        <p:nvPicPr>
          <p:cNvPr id="19" name="Picture 18" descr="A baby sleeping in a crib&#10;&#10;Description automatically generated">
            <a:extLst>
              <a:ext uri="{FF2B5EF4-FFF2-40B4-BE49-F238E27FC236}">
                <a16:creationId xmlns:a16="http://schemas.microsoft.com/office/drawing/2014/main" id="{5CE1BD5C-51C1-3EFC-45B1-66322144F62C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8002" y="-18815"/>
            <a:ext cx="3409181" cy="4664364"/>
          </a:xfrm>
          <a:prstGeom prst="rect">
            <a:avLst/>
          </a:prstGeom>
        </p:spPr>
      </p:pic>
      <p:pic>
        <p:nvPicPr>
          <p:cNvPr id="21" name="Picture 20" descr="A baby sleeping in a blanket&#10;&#10;Description automatically generated">
            <a:extLst>
              <a:ext uri="{FF2B5EF4-FFF2-40B4-BE49-F238E27FC236}">
                <a16:creationId xmlns:a16="http://schemas.microsoft.com/office/drawing/2014/main" id="{82137F4C-14F3-DDE4-2320-3E0C44F69C67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2519" y="4522"/>
            <a:ext cx="2400823" cy="3150991"/>
          </a:xfrm>
          <a:prstGeom prst="rect">
            <a:avLst/>
          </a:prstGeom>
        </p:spPr>
      </p:pic>
      <p:pic>
        <p:nvPicPr>
          <p:cNvPr id="23" name="Picture 22" descr="A baby sleeping in a green sleeping bag&#10;&#10;Description automatically generated">
            <a:extLst>
              <a:ext uri="{FF2B5EF4-FFF2-40B4-BE49-F238E27FC236}">
                <a16:creationId xmlns:a16="http://schemas.microsoft.com/office/drawing/2014/main" id="{6290BE80-C646-19B4-8652-489E84379B46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1312" y="2316497"/>
            <a:ext cx="2981046" cy="4532285"/>
          </a:xfrm>
          <a:prstGeom prst="rect">
            <a:avLst/>
          </a:prstGeom>
        </p:spPr>
      </p:pic>
      <p:pic>
        <p:nvPicPr>
          <p:cNvPr id="24" name="Picture 23" descr="A box wrapped in brown paper with a tag and a heart&#10;&#10;Description automatically generated">
            <a:extLst>
              <a:ext uri="{FF2B5EF4-FFF2-40B4-BE49-F238E27FC236}">
                <a16:creationId xmlns:a16="http://schemas.microsoft.com/office/drawing/2014/main" id="{157DA200-6232-257F-A8C0-7A6A4440677A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942" y="4369360"/>
            <a:ext cx="2543175" cy="25717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2AB6ED0-DFCC-F876-E78C-F8283E405F49}"/>
              </a:ext>
            </a:extLst>
          </p:cNvPr>
          <p:cNvSpPr txBox="1"/>
          <p:nvPr/>
        </p:nvSpPr>
        <p:spPr>
          <a:xfrm>
            <a:off x="494806" y="2780150"/>
            <a:ext cx="6605431" cy="129266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>
                <a:solidFill>
                  <a:srgbClr val="8BAFAE"/>
                </a:solidFill>
                <a:latin typeface="Aptos Display"/>
                <a:cs typeface="Dreaming Outloud Script Pro"/>
              </a:rPr>
              <a:t>If you placed an order, you can pick up your starter pack at any point during the conference. </a:t>
            </a:r>
            <a:endParaRPr lang="en-US" sz="2800">
              <a:latin typeface="Aptos Display"/>
              <a:cs typeface="Arial"/>
            </a:endParaRPr>
          </a:p>
        </p:txBody>
      </p:sp>
      <p:sp>
        <p:nvSpPr>
          <p:cNvPr id="13" name="TextBox 11">
            <a:extLst>
              <a:ext uri="{FF2B5EF4-FFF2-40B4-BE49-F238E27FC236}">
                <a16:creationId xmlns:a16="http://schemas.microsoft.com/office/drawing/2014/main" id="{9FF8D7C6-D257-8DEA-7045-B3DFAF2F4CAD}"/>
              </a:ext>
            </a:extLst>
          </p:cNvPr>
          <p:cNvSpPr txBox="1"/>
          <p:nvPr/>
        </p:nvSpPr>
        <p:spPr>
          <a:xfrm>
            <a:off x="2665351" y="5658364"/>
            <a:ext cx="5558644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rgbClr val="8BAFAE"/>
                </a:solidFill>
                <a:latin typeface="Aptos Display"/>
                <a:cs typeface="Dreaming Outloud Script Pro"/>
              </a:rPr>
              <a:t>If you did not place an order, please check with Kiela or Ellie for availability of extra packs. </a:t>
            </a:r>
            <a:endParaRPr lang="en-US" sz="2000">
              <a:latin typeface="Aptos Display"/>
              <a:cs typeface="Arial"/>
            </a:endParaRPr>
          </a:p>
        </p:txBody>
      </p:sp>
      <p:sp>
        <p:nvSpPr>
          <p:cNvPr id="15" name="Freeform 8">
            <a:extLst>
              <a:ext uri="{FF2B5EF4-FFF2-40B4-BE49-F238E27FC236}">
                <a16:creationId xmlns:a16="http://schemas.microsoft.com/office/drawing/2014/main" id="{7DCFF3E8-930D-0969-AECA-8D0C0679DA5A}"/>
              </a:ext>
            </a:extLst>
          </p:cNvPr>
          <p:cNvSpPr/>
          <p:nvPr/>
        </p:nvSpPr>
        <p:spPr>
          <a:xfrm>
            <a:off x="2862" y="23862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0202587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D1D34770-47A8-402C-AF23-2B653F2D88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9D817B-7AEA-314E-FEE7-EA612603CA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67" y="316536"/>
            <a:ext cx="6002110" cy="763308"/>
          </a:xfrm>
        </p:spPr>
        <p:txBody>
          <a:bodyPr>
            <a:noAutofit/>
          </a:bodyPr>
          <a:lstStyle/>
          <a:p>
            <a:r>
              <a:rPr lang="en-US" sz="4800" dirty="0">
                <a:latin typeface="Aptos Display"/>
              </a:rPr>
              <a:t>ESSI Vis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E8FA09-1F3D-253E-5407-C61C3CD75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2092" y="1045420"/>
            <a:ext cx="6002110" cy="1039623"/>
          </a:xfrm>
        </p:spPr>
        <p:txBody>
          <a:bodyPr>
            <a:normAutofit/>
          </a:bodyPr>
          <a:lstStyle/>
          <a:p>
            <a:pPr marL="114300" indent="0">
              <a:buNone/>
            </a:pPr>
            <a:endParaRPr lang="en-US" sz="2000"/>
          </a:p>
          <a:p>
            <a:endParaRPr lang="en-US" sz="2000" b="1" dirty="0">
              <a:solidFill>
                <a:schemeClr val="accent2"/>
              </a:solidFill>
              <a:latin typeface="Aptos Display"/>
            </a:endParaRPr>
          </a:p>
        </p:txBody>
      </p:sp>
      <p:pic>
        <p:nvPicPr>
          <p:cNvPr id="5" name="Picture 4" descr="A pink and blue circle with white text&#10;&#10;Description automatically generated">
            <a:extLst>
              <a:ext uri="{FF2B5EF4-FFF2-40B4-BE49-F238E27FC236}">
                <a16:creationId xmlns:a16="http://schemas.microsoft.com/office/drawing/2014/main" id="{9B498268-56EF-DE38-1B63-38834C93182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9440" y="10"/>
            <a:ext cx="4992560" cy="6857990"/>
          </a:xfrm>
          <a:prstGeom prst="rect">
            <a:avLst/>
          </a:prstGeom>
          <a:effectLst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E4BACC-4C42-208A-D736-2A0A2538B4B7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600"/>
              </a:spcAft>
              <a:buNone/>
            </a:pPr>
            <a:fld id="{00000000-1234-1234-1234-123412341234}" type="slidenum">
              <a:rPr lang="en-US">
                <a:solidFill>
                  <a:srgbClr val="FFFFFF"/>
                </a:solidFill>
              </a:rPr>
              <a:pPr marL="0" lvl="0" indent="0" rtl="0">
                <a:spcBef>
                  <a:spcPts val="0"/>
                </a:spcBef>
                <a:spcAft>
                  <a:spcPts val="600"/>
                </a:spcAft>
                <a:buNone/>
              </a:pPr>
              <a:t>3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782B450-7CF2-409F-41CC-D0E8E2C7C1E8}"/>
              </a:ext>
            </a:extLst>
          </p:cNvPr>
          <p:cNvSpPr txBox="1">
            <a:spLocks/>
          </p:cNvSpPr>
          <p:nvPr/>
        </p:nvSpPr>
        <p:spPr>
          <a:xfrm>
            <a:off x="708588" y="2813927"/>
            <a:ext cx="6002110" cy="31525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114300" indent="0">
              <a:buFont typeface="Arial"/>
              <a:buNone/>
            </a:pPr>
            <a:endParaRPr lang="en-US" sz="3200" dirty="0">
              <a:latin typeface="Aptos Display"/>
            </a:endParaRPr>
          </a:p>
          <a:p>
            <a:pPr marL="114300" indent="0">
              <a:buNone/>
            </a:pPr>
            <a:r>
              <a:rPr lang="en-US" sz="3200" dirty="0">
                <a:latin typeface="Aptos Display"/>
              </a:rPr>
              <a:t>To better equip hospitals to address </a:t>
            </a:r>
            <a:r>
              <a:rPr lang="en-US" sz="3200" b="1" dirty="0">
                <a:solidFill>
                  <a:schemeClr val="accent2"/>
                </a:solidFill>
                <a:latin typeface="Aptos Display"/>
              </a:rPr>
              <a:t>infant safe sleep environment, racial equity, and social determinants of health</a:t>
            </a:r>
            <a:r>
              <a:rPr lang="en-US" sz="3200" dirty="0">
                <a:latin typeface="Aptos Display"/>
              </a:rPr>
              <a:t> to reduce racial disparities</a:t>
            </a:r>
          </a:p>
          <a:p>
            <a:endParaRPr lang="en-US" sz="3200" dirty="0"/>
          </a:p>
        </p:txBody>
      </p:sp>
      <p:pic>
        <p:nvPicPr>
          <p:cNvPr id="11" name="Picture 10" descr="A diagram of a business presentation&#10;&#10;Description automatically generated">
            <a:extLst>
              <a:ext uri="{FF2B5EF4-FFF2-40B4-BE49-F238E27FC236}">
                <a16:creationId xmlns:a16="http://schemas.microsoft.com/office/drawing/2014/main" id="{8812E51D-6983-B660-1AFB-DB4A7638F33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467" y="1114267"/>
            <a:ext cx="6514353" cy="2318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34181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3CFB104-9918-D9EA-F7FB-63D64968C8D3}"/>
              </a:ext>
            </a:extLst>
          </p:cNvPr>
          <p:cNvSpPr/>
          <p:nvPr/>
        </p:nvSpPr>
        <p:spPr>
          <a:xfrm>
            <a:off x="-1" y="4945529"/>
            <a:ext cx="12192000" cy="1897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5EA135-1E6D-7337-28B6-48C82385DC8A}"/>
              </a:ext>
            </a:extLst>
          </p:cNvPr>
          <p:cNvSpPr/>
          <p:nvPr/>
        </p:nvSpPr>
        <p:spPr>
          <a:xfrm>
            <a:off x="6850529" y="0"/>
            <a:ext cx="5334000" cy="19124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DBA9FE05-AB7E-53F7-9E37-D9978536D6F9}"/>
              </a:ext>
            </a:extLst>
          </p:cNvPr>
          <p:cNvSpPr/>
          <p:nvPr/>
        </p:nvSpPr>
        <p:spPr>
          <a:xfrm>
            <a:off x="11174332" y="-231165"/>
            <a:ext cx="1853545" cy="1777153"/>
          </a:xfrm>
          <a:custGeom>
            <a:avLst/>
            <a:gdLst/>
            <a:ahLst/>
            <a:cxnLst/>
            <a:rect l="l" t="t" r="r" b="b"/>
            <a:pathLst>
              <a:path w="2780318" h="2665730">
                <a:moveTo>
                  <a:pt x="0" y="0"/>
                </a:moveTo>
                <a:lnTo>
                  <a:pt x="2780318" y="0"/>
                </a:lnTo>
                <a:lnTo>
                  <a:pt x="2780318" y="2665730"/>
                </a:lnTo>
                <a:lnTo>
                  <a:pt x="0" y="2665730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ACF88FD-C278-77A0-2BD3-9CEB262C560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0</a:t>
            </a:fld>
            <a:endParaRPr lang="en-US"/>
          </a:p>
        </p:txBody>
      </p:sp>
      <p:pic>
        <p:nvPicPr>
          <p:cNvPr id="3" name="Picture 2" descr="A diagram of health care&#10;&#10;Description automatically generated">
            <a:extLst>
              <a:ext uri="{FF2B5EF4-FFF2-40B4-BE49-F238E27FC236}">
                <a16:creationId xmlns:a16="http://schemas.microsoft.com/office/drawing/2014/main" id="{B9696690-4DC1-A2A9-65FF-8AB91370CBA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244" y="18095"/>
            <a:ext cx="10152302" cy="6818638"/>
          </a:xfrm>
          <a:prstGeom prst="rect">
            <a:avLst/>
          </a:prstGeom>
        </p:spPr>
      </p:pic>
      <p:grpSp>
        <p:nvGrpSpPr>
          <p:cNvPr id="8" name="Group 2">
            <a:extLst>
              <a:ext uri="{FF2B5EF4-FFF2-40B4-BE49-F238E27FC236}">
                <a16:creationId xmlns:a16="http://schemas.microsoft.com/office/drawing/2014/main" id="{81958D14-B4BE-D71B-28C6-68D7DC380180}"/>
              </a:ext>
            </a:extLst>
          </p:cNvPr>
          <p:cNvGrpSpPr/>
          <p:nvPr/>
        </p:nvGrpSpPr>
        <p:grpSpPr>
          <a:xfrm rot="20621884">
            <a:off x="-1299077" y="5661928"/>
            <a:ext cx="2834386" cy="2164589"/>
            <a:chOff x="0" y="0"/>
            <a:chExt cx="5668772" cy="4329176"/>
          </a:xfrm>
        </p:grpSpPr>
        <p:sp>
          <p:nvSpPr>
            <p:cNvPr id="7" name="Freeform 3">
              <a:extLst>
                <a:ext uri="{FF2B5EF4-FFF2-40B4-BE49-F238E27FC236}">
                  <a16:creationId xmlns:a16="http://schemas.microsoft.com/office/drawing/2014/main" id="{D52D7FE6-CA3B-5EB6-F311-52E4DB8610FA}"/>
                </a:ext>
              </a:extLst>
            </p:cNvPr>
            <p:cNvSpPr/>
            <p:nvPr/>
          </p:nvSpPr>
          <p:spPr>
            <a:xfrm>
              <a:off x="0" y="0"/>
              <a:ext cx="5668772" cy="4329176"/>
            </a:xfrm>
            <a:custGeom>
              <a:avLst/>
              <a:gdLst/>
              <a:ahLst/>
              <a:cxnLst/>
              <a:rect l="l" t="t" r="r" b="b"/>
              <a:pathLst>
                <a:path w="5668772" h="4329176">
                  <a:moveTo>
                    <a:pt x="3632327" y="0"/>
                  </a:moveTo>
                  <a:cubicBezTo>
                    <a:pt x="2572258" y="0"/>
                    <a:pt x="368935" y="954151"/>
                    <a:pt x="352425" y="995934"/>
                  </a:cubicBezTo>
                  <a:cubicBezTo>
                    <a:pt x="0" y="1885823"/>
                    <a:pt x="103886" y="3375787"/>
                    <a:pt x="783463" y="4136390"/>
                  </a:cubicBezTo>
                  <a:cubicBezTo>
                    <a:pt x="904494" y="4271899"/>
                    <a:pt x="1116203" y="4329176"/>
                    <a:pt x="1384173" y="4329176"/>
                  </a:cubicBezTo>
                  <a:cubicBezTo>
                    <a:pt x="2621280" y="4329176"/>
                    <a:pt x="5059172" y="3110357"/>
                    <a:pt x="5334254" y="2753487"/>
                  </a:cubicBezTo>
                  <a:cubicBezTo>
                    <a:pt x="5668772" y="2319274"/>
                    <a:pt x="4789043" y="291084"/>
                    <a:pt x="3933444" y="36322"/>
                  </a:cubicBezTo>
                  <a:cubicBezTo>
                    <a:pt x="3849370" y="11303"/>
                    <a:pt x="3747643" y="0"/>
                    <a:pt x="3632327" y="0"/>
                  </a:cubicBezTo>
                  <a:close/>
                </a:path>
              </a:pathLst>
            </a:custGeom>
            <a:solidFill>
              <a:srgbClr val="8BAFAE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10" name="Freeform 8">
            <a:extLst>
              <a:ext uri="{FF2B5EF4-FFF2-40B4-BE49-F238E27FC236}">
                <a16:creationId xmlns:a16="http://schemas.microsoft.com/office/drawing/2014/main" id="{D57C2D32-FC29-228D-F0C9-E43E0B5BA11F}"/>
              </a:ext>
            </a:extLst>
          </p:cNvPr>
          <p:cNvSpPr/>
          <p:nvPr/>
        </p:nvSpPr>
        <p:spPr>
          <a:xfrm>
            <a:off x="-553429" y="4690612"/>
            <a:ext cx="2335267" cy="2409093"/>
          </a:xfrm>
          <a:custGeom>
            <a:avLst/>
            <a:gdLst/>
            <a:ahLst/>
            <a:cxnLst/>
            <a:rect l="l" t="t" r="r" b="b"/>
            <a:pathLst>
              <a:path w="3502900" h="3613639">
                <a:moveTo>
                  <a:pt x="0" y="0"/>
                </a:moveTo>
                <a:lnTo>
                  <a:pt x="3502900" y="0"/>
                </a:lnTo>
                <a:lnTo>
                  <a:pt x="3502900" y="3613638"/>
                </a:lnTo>
                <a:lnTo>
                  <a:pt x="0" y="3613638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8212DE49-971E-3BD1-C4CF-6665C02DD768}"/>
              </a:ext>
            </a:extLst>
          </p:cNvPr>
          <p:cNvSpPr/>
          <p:nvPr/>
        </p:nvSpPr>
        <p:spPr>
          <a:xfrm>
            <a:off x="10680501" y="5216103"/>
            <a:ext cx="2707577" cy="2873196"/>
          </a:xfrm>
          <a:custGeom>
            <a:avLst/>
            <a:gdLst/>
            <a:ahLst/>
            <a:cxnLst/>
            <a:rect l="l" t="t" r="r" b="b"/>
            <a:pathLst>
              <a:path w="4061366" h="4309794">
                <a:moveTo>
                  <a:pt x="0" y="0"/>
                </a:moveTo>
                <a:lnTo>
                  <a:pt x="4061366" y="0"/>
                </a:lnTo>
                <a:lnTo>
                  <a:pt x="4061366" y="4309794"/>
                </a:lnTo>
                <a:lnTo>
                  <a:pt x="0" y="4309794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4007415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489B5F-85CD-5C54-66CF-8FFE930EA5E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1</a:t>
            </a:fld>
            <a:endParaRPr lang="en-US"/>
          </a:p>
        </p:txBody>
      </p:sp>
      <p:pic>
        <p:nvPicPr>
          <p:cNvPr id="3" name="Picture 2" descr="A brochure of a baby&#10;&#10;Description automatically generated">
            <a:extLst>
              <a:ext uri="{FF2B5EF4-FFF2-40B4-BE49-F238E27FC236}">
                <a16:creationId xmlns:a16="http://schemas.microsoft.com/office/drawing/2014/main" id="{BCB70EE3-F9DA-3439-CD4F-9F66721BEB4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8170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84264B-A672-33EE-B7E0-F3532EE9848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2</a:t>
            </a:fld>
            <a:endParaRPr lang="en-US"/>
          </a:p>
        </p:txBody>
      </p:sp>
      <p:sp>
        <p:nvSpPr>
          <p:cNvPr id="5" name="Freeform 13">
            <a:extLst>
              <a:ext uri="{FF2B5EF4-FFF2-40B4-BE49-F238E27FC236}">
                <a16:creationId xmlns:a16="http://schemas.microsoft.com/office/drawing/2014/main" id="{DA3EA908-0CEE-B279-320E-238BED597C74}"/>
              </a:ext>
            </a:extLst>
          </p:cNvPr>
          <p:cNvSpPr/>
          <p:nvPr/>
        </p:nvSpPr>
        <p:spPr>
          <a:xfrm>
            <a:off x="-10312" y="-13086"/>
            <a:ext cx="1416325" cy="66266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4" name="Picture 3" descr="A person holding a baby&#10;&#10;Description automatically generated">
            <a:extLst>
              <a:ext uri="{FF2B5EF4-FFF2-40B4-BE49-F238E27FC236}">
                <a16:creationId xmlns:a16="http://schemas.microsoft.com/office/drawing/2014/main" id="{8FF31569-21C4-97D1-95FF-0C1441FB8A5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" y="-14941"/>
            <a:ext cx="1219200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9B13B12-BE32-CE26-94C3-F58828326948}"/>
              </a:ext>
            </a:extLst>
          </p:cNvPr>
          <p:cNvSpPr txBox="1"/>
          <p:nvPr/>
        </p:nvSpPr>
        <p:spPr>
          <a:xfrm>
            <a:off x="4728882" y="2420470"/>
            <a:ext cx="2743200" cy="18158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 i="1">
                <a:solidFill>
                  <a:srgbClr val="26487E"/>
                </a:solidFill>
                <a:latin typeface="Aptos Display"/>
              </a:rPr>
              <a:t>Working on translations to </a:t>
            </a:r>
            <a:r>
              <a:rPr lang="en-US" sz="2800" b="1" i="1">
                <a:solidFill>
                  <a:srgbClr val="26487E"/>
                </a:solidFill>
                <a:latin typeface="Aptos Display"/>
              </a:rPr>
              <a:t>French, Arabic,</a:t>
            </a:r>
            <a:r>
              <a:rPr lang="en-US" sz="2800" i="1">
                <a:solidFill>
                  <a:srgbClr val="26487E"/>
                </a:solidFill>
                <a:latin typeface="Aptos Display"/>
              </a:rPr>
              <a:t> and</a:t>
            </a:r>
            <a:r>
              <a:rPr lang="en-US" sz="2800" b="1" i="1">
                <a:solidFill>
                  <a:srgbClr val="26487E"/>
                </a:solidFill>
                <a:latin typeface="Aptos Display"/>
              </a:rPr>
              <a:t> more!</a:t>
            </a:r>
          </a:p>
        </p:txBody>
      </p:sp>
    </p:spTree>
    <p:extLst>
      <p:ext uri="{BB962C8B-B14F-4D97-AF65-F5344CB8AC3E}">
        <p14:creationId xmlns:p14="http://schemas.microsoft.com/office/powerpoint/2010/main" val="345103759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DCE6FE2-F4C3-1A09-6B88-AA3A676D098A}"/>
              </a:ext>
            </a:extLst>
          </p:cNvPr>
          <p:cNvSpPr/>
          <p:nvPr/>
        </p:nvSpPr>
        <p:spPr>
          <a:xfrm>
            <a:off x="6895352" y="0"/>
            <a:ext cx="5334000" cy="19124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FA481D-614C-7B37-55C1-FA747FCDC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-934"/>
            <a:ext cx="10972800" cy="1325563"/>
          </a:xfrm>
        </p:spPr>
        <p:txBody>
          <a:bodyPr/>
          <a:lstStyle/>
          <a:p>
            <a:r>
              <a:rPr lang="en-US" dirty="0"/>
              <a:t>Respectful Care Practic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B47064-3260-60F7-1FA6-CF407D10475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3</a:t>
            </a:fld>
            <a:endParaRPr lang="en-US"/>
          </a:p>
        </p:txBody>
      </p:sp>
      <p:pic>
        <p:nvPicPr>
          <p:cNvPr id="9" name="Picture 8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60AF6EDA-14AF-98CB-C7EF-61AFD1C66C3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826" y="1151134"/>
            <a:ext cx="10322350" cy="520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07687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04F7E8D-A0F4-4ED9-3E2D-E91040EA8C7E}"/>
              </a:ext>
            </a:extLst>
          </p:cNvPr>
          <p:cNvSpPr/>
          <p:nvPr/>
        </p:nvSpPr>
        <p:spPr>
          <a:xfrm>
            <a:off x="6850529" y="-29882"/>
            <a:ext cx="5334000" cy="19124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FA481D-614C-7B37-55C1-FA747FCDC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-934"/>
            <a:ext cx="10972800" cy="1325563"/>
          </a:xfrm>
        </p:spPr>
        <p:txBody>
          <a:bodyPr/>
          <a:lstStyle/>
          <a:p>
            <a:r>
              <a:rPr lang="en-US" dirty="0"/>
              <a:t>Respectful Care Practic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B47064-3260-60F7-1FA6-CF407D10475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4</a:t>
            </a:fld>
            <a:endParaRPr lang="en-US"/>
          </a:p>
        </p:txBody>
      </p:sp>
      <p:pic>
        <p:nvPicPr>
          <p:cNvPr id="6" name="Picture 5" descr="A white paper with black text&#10;&#10;Description automatically generated">
            <a:extLst>
              <a:ext uri="{FF2B5EF4-FFF2-40B4-BE49-F238E27FC236}">
                <a16:creationId xmlns:a16="http://schemas.microsoft.com/office/drawing/2014/main" id="{329CF6E0-AB2F-C86F-9E84-FCC92F3332A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138" y="1035632"/>
            <a:ext cx="9991725" cy="515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42804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2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BA322598-8F01-E9B5-60E9-42771DF3099B}"/>
              </a:ext>
            </a:extLst>
          </p:cNvPr>
          <p:cNvSpPr/>
          <p:nvPr/>
        </p:nvSpPr>
        <p:spPr>
          <a:xfrm>
            <a:off x="165325" y="139411"/>
            <a:ext cx="3628929" cy="1932472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22730" name="Google Shape;22730;p5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Illinois Perinatal Quality Collaborative</a:t>
            </a:r>
            <a:endParaRPr/>
          </a:p>
        </p:txBody>
      </p:sp>
      <p:sp>
        <p:nvSpPr>
          <p:cNvPr id="22731" name="Google Shape;22731;p53"/>
          <p:cNvSpPr txBox="1">
            <a:spLocks noGrp="1"/>
          </p:cNvSpPr>
          <p:nvPr>
            <p:ph type="sldNum" idx="12"/>
          </p:nvPr>
        </p:nvSpPr>
        <p:spPr>
          <a:xfrm>
            <a:off x="88011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35</a:t>
            </a:fld>
            <a:endParaRPr sz="1200" b="0" i="0" u="none" strike="noStrike" cap="none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2732" name="Google Shape;22732;p53"/>
          <p:cNvGrpSpPr/>
          <p:nvPr/>
        </p:nvGrpSpPr>
        <p:grpSpPr>
          <a:xfrm>
            <a:off x="1092100" y="1214994"/>
            <a:ext cx="10003965" cy="4801681"/>
            <a:chOff x="0" y="600210"/>
            <a:chExt cx="10003965" cy="4801681"/>
          </a:xfrm>
        </p:grpSpPr>
        <p:cxnSp>
          <p:nvCxnSpPr>
            <p:cNvPr id="22733" name="Google Shape;22733;p53"/>
            <p:cNvCxnSpPr/>
            <p:nvPr/>
          </p:nvCxnSpPr>
          <p:spPr>
            <a:xfrm>
              <a:off x="0" y="3001051"/>
              <a:ext cx="10003965" cy="0"/>
            </a:xfrm>
            <a:prstGeom prst="straightConnector1">
              <a:avLst/>
            </a:prstGeom>
            <a:solidFill>
              <a:schemeClr val="lt1">
                <a:alpha val="89803"/>
              </a:schemeClr>
            </a:solidFill>
            <a:ln w="19050" cap="flat" cmpd="sng">
              <a:solidFill>
                <a:srgbClr val="E97131"/>
              </a:solidFill>
              <a:prstDash val="solid"/>
              <a:miter lim="800000"/>
              <a:headEnd type="none" w="sm" len="sm"/>
              <a:tailEnd type="triangle" w="lg" len="lg"/>
            </a:ln>
          </p:spPr>
        </p:cxnSp>
        <p:sp>
          <p:nvSpPr>
            <p:cNvPr id="22734" name="Google Shape;22734;p53"/>
            <p:cNvSpPr/>
            <p:nvPr/>
          </p:nvSpPr>
          <p:spPr>
            <a:xfrm rot="8100000">
              <a:off x="90511" y="695209"/>
              <a:ext cx="434219" cy="434219"/>
            </a:xfrm>
            <a:prstGeom prst="teardrop">
              <a:avLst>
                <a:gd name="adj" fmla="val 115000"/>
              </a:avLst>
            </a:prstGeom>
            <a:solidFill>
              <a:srgbClr val="E97131"/>
            </a:solidFill>
            <a:ln w="19050" cap="flat" cmpd="sng">
              <a:solidFill>
                <a:srgbClr val="E9713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5" name="Google Shape;22735;p53"/>
            <p:cNvSpPr/>
            <p:nvPr/>
          </p:nvSpPr>
          <p:spPr>
            <a:xfrm>
              <a:off x="138749" y="743447"/>
              <a:ext cx="337743" cy="337743"/>
            </a:xfrm>
            <a:prstGeom prst="ellipse">
              <a:avLst/>
            </a:prstGeom>
            <a:solidFill>
              <a:schemeClr val="lt1">
                <a:alpha val="89803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6" name="Google Shape;22736;p53"/>
            <p:cNvSpPr/>
            <p:nvPr/>
          </p:nvSpPr>
          <p:spPr>
            <a:xfrm>
              <a:off x="614660" y="1224429"/>
              <a:ext cx="2732718" cy="17766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7" name="Google Shape;22737;p53"/>
            <p:cNvSpPr txBox="1"/>
            <p:nvPr/>
          </p:nvSpPr>
          <p:spPr>
            <a:xfrm>
              <a:off x="614660" y="1224429"/>
              <a:ext cx="2732718" cy="17766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139700" rIns="139700" bIns="20955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Arial"/>
                <a:buNone/>
              </a:pPr>
              <a:r>
                <a:rPr lang="en-US" sz="2600">
                  <a:latin typeface="Aptos Display"/>
                  <a:sym typeface="Arial"/>
                </a:rPr>
                <a:t>Equitable and</a:t>
              </a:r>
              <a:r>
                <a:rPr lang="en-US" sz="2600">
                  <a:latin typeface="Aptos Display"/>
                  <a:ea typeface="Play"/>
                  <a:cs typeface="Play"/>
                  <a:sym typeface="Play"/>
                </a:rPr>
                <a:t> Inclusive Unit Policies</a:t>
              </a:r>
              <a:endParaRPr lang="en-US" sz="2600">
                <a:latin typeface="Aptos Display"/>
              </a:endParaRPr>
            </a:p>
          </p:txBody>
        </p:sp>
        <p:sp>
          <p:nvSpPr>
            <p:cNvPr id="22738" name="Google Shape;22738;p53"/>
            <p:cNvSpPr/>
            <p:nvPr/>
          </p:nvSpPr>
          <p:spPr>
            <a:xfrm>
              <a:off x="614660" y="600210"/>
              <a:ext cx="2732718" cy="6242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39" name="Google Shape;22739;p53"/>
            <p:cNvSpPr txBox="1"/>
            <p:nvPr/>
          </p:nvSpPr>
          <p:spPr>
            <a:xfrm>
              <a:off x="614660" y="600210"/>
              <a:ext cx="2732718" cy="6242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1397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Play"/>
                <a:buNone/>
              </a:pPr>
              <a:r>
                <a:rPr lang="en-US" sz="2200" b="1">
                  <a:solidFill>
                    <a:schemeClr val="dk1"/>
                  </a:solidFill>
                  <a:latin typeface="Play"/>
                  <a:ea typeface="Play"/>
                  <a:cs typeface="Play"/>
                  <a:sym typeface="Play"/>
                </a:rPr>
                <a:t>June</a:t>
              </a:r>
              <a:endParaRPr sz="2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2740" name="Google Shape;22740;p53"/>
            <p:cNvCxnSpPr/>
            <p:nvPr/>
          </p:nvCxnSpPr>
          <p:spPr>
            <a:xfrm>
              <a:off x="307621" y="1224429"/>
              <a:ext cx="0" cy="1776622"/>
            </a:xfrm>
            <a:prstGeom prst="straightConnector1">
              <a:avLst/>
            </a:prstGeom>
            <a:noFill/>
            <a:ln w="12700" cap="flat" cmpd="sng">
              <a:solidFill>
                <a:srgbClr val="E9713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22741" name="Google Shape;22741;p53"/>
            <p:cNvSpPr/>
            <p:nvPr/>
          </p:nvSpPr>
          <p:spPr>
            <a:xfrm>
              <a:off x="257424" y="2944871"/>
              <a:ext cx="110534" cy="112359"/>
            </a:xfrm>
            <a:prstGeom prst="ellipse">
              <a:avLst/>
            </a:prstGeom>
            <a:solidFill>
              <a:srgbClr val="E97131"/>
            </a:solidFill>
            <a:ln w="952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2" name="Google Shape;22742;p53"/>
            <p:cNvSpPr/>
            <p:nvPr/>
          </p:nvSpPr>
          <p:spPr>
            <a:xfrm rot="-2700000">
              <a:off x="1754512" y="4872673"/>
              <a:ext cx="434219" cy="434219"/>
            </a:xfrm>
            <a:prstGeom prst="teardrop">
              <a:avLst>
                <a:gd name="adj" fmla="val 115000"/>
              </a:avLst>
            </a:prstGeom>
            <a:solidFill>
              <a:srgbClr val="176B22"/>
            </a:solidFill>
            <a:ln w="19050" cap="flat" cmpd="sng">
              <a:solidFill>
                <a:srgbClr val="176B2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3" name="Google Shape;22743;p53"/>
            <p:cNvSpPr/>
            <p:nvPr/>
          </p:nvSpPr>
          <p:spPr>
            <a:xfrm>
              <a:off x="1802750" y="4920911"/>
              <a:ext cx="337743" cy="337743"/>
            </a:xfrm>
            <a:prstGeom prst="ellipse">
              <a:avLst/>
            </a:prstGeom>
            <a:solidFill>
              <a:schemeClr val="lt1">
                <a:alpha val="89803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4" name="Google Shape;22744;p53"/>
            <p:cNvSpPr/>
            <p:nvPr/>
          </p:nvSpPr>
          <p:spPr>
            <a:xfrm>
              <a:off x="2278661" y="3001051"/>
              <a:ext cx="2732718" cy="17766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5" name="Google Shape;22745;p53"/>
            <p:cNvSpPr txBox="1"/>
            <p:nvPr/>
          </p:nvSpPr>
          <p:spPr>
            <a:xfrm>
              <a:off x="2278661" y="3001051"/>
              <a:ext cx="2732718" cy="17766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209550" rIns="0" bIns="139700" anchor="b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Play"/>
                <a:buNone/>
              </a:pPr>
              <a:r>
                <a:rPr lang="en-US" sz="2600">
                  <a:latin typeface="Aptos Display"/>
                  <a:ea typeface="Play"/>
                  <a:cs typeface="Play"/>
                  <a:sym typeface="Play"/>
                </a:rPr>
                <a:t>Interpreters and Providing Education in Preferred Language</a:t>
              </a:r>
              <a:endParaRPr sz="2600">
                <a:latin typeface="Aptos Display"/>
                <a:ea typeface="Arial"/>
                <a:cs typeface="Arial"/>
                <a:sym typeface="Arial"/>
              </a:endParaRPr>
            </a:p>
          </p:txBody>
        </p:sp>
        <p:sp>
          <p:nvSpPr>
            <p:cNvPr id="22746" name="Google Shape;22746;p53"/>
            <p:cNvSpPr/>
            <p:nvPr/>
          </p:nvSpPr>
          <p:spPr>
            <a:xfrm>
              <a:off x="2278661" y="4777673"/>
              <a:ext cx="2732718" cy="6242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47" name="Google Shape;22747;p53"/>
            <p:cNvSpPr txBox="1"/>
            <p:nvPr/>
          </p:nvSpPr>
          <p:spPr>
            <a:xfrm>
              <a:off x="2278661" y="4777673"/>
              <a:ext cx="2732718" cy="6242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1397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Play"/>
                <a:buNone/>
              </a:pPr>
              <a:r>
                <a:rPr lang="en-US" sz="2200" b="1">
                  <a:solidFill>
                    <a:schemeClr val="dk1"/>
                  </a:solidFill>
                  <a:latin typeface="Play"/>
                  <a:ea typeface="Play"/>
                  <a:cs typeface="Play"/>
                  <a:sym typeface="Play"/>
                </a:rPr>
                <a:t>July</a:t>
              </a:r>
              <a:endParaRPr sz="2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2748" name="Google Shape;22748;p53"/>
            <p:cNvCxnSpPr/>
            <p:nvPr/>
          </p:nvCxnSpPr>
          <p:spPr>
            <a:xfrm>
              <a:off x="1971622" y="3001051"/>
              <a:ext cx="0" cy="1776622"/>
            </a:xfrm>
            <a:prstGeom prst="straightConnector1">
              <a:avLst/>
            </a:prstGeom>
            <a:noFill/>
            <a:ln w="12700" cap="flat" cmpd="sng">
              <a:solidFill>
                <a:srgbClr val="176B22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22749" name="Google Shape;22749;p53"/>
            <p:cNvSpPr/>
            <p:nvPr/>
          </p:nvSpPr>
          <p:spPr>
            <a:xfrm>
              <a:off x="1921425" y="2944871"/>
              <a:ext cx="110534" cy="112359"/>
            </a:xfrm>
            <a:prstGeom prst="ellipse">
              <a:avLst/>
            </a:prstGeom>
            <a:solidFill>
              <a:srgbClr val="176B22"/>
            </a:solidFill>
            <a:ln w="952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0" name="Google Shape;22750;p53"/>
            <p:cNvSpPr/>
            <p:nvPr/>
          </p:nvSpPr>
          <p:spPr>
            <a:xfrm rot="8100000">
              <a:off x="3418513" y="695209"/>
              <a:ext cx="434219" cy="434219"/>
            </a:xfrm>
            <a:prstGeom prst="teardrop">
              <a:avLst>
                <a:gd name="adj" fmla="val 115000"/>
              </a:avLst>
            </a:prstGeom>
            <a:solidFill>
              <a:srgbClr val="0C9ED5"/>
            </a:solidFill>
            <a:ln w="19050" cap="flat" cmpd="sng">
              <a:solidFill>
                <a:srgbClr val="0C9ED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1" name="Google Shape;22751;p53"/>
            <p:cNvSpPr/>
            <p:nvPr/>
          </p:nvSpPr>
          <p:spPr>
            <a:xfrm>
              <a:off x="3466751" y="743447"/>
              <a:ext cx="337743" cy="337743"/>
            </a:xfrm>
            <a:prstGeom prst="ellipse">
              <a:avLst/>
            </a:prstGeom>
            <a:solidFill>
              <a:schemeClr val="lt1">
                <a:alpha val="89803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2" name="Google Shape;22752;p53"/>
            <p:cNvSpPr/>
            <p:nvPr/>
          </p:nvSpPr>
          <p:spPr>
            <a:xfrm>
              <a:off x="3942662" y="1224429"/>
              <a:ext cx="2732718" cy="17766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3" name="Google Shape;22753;p53"/>
            <p:cNvSpPr txBox="1"/>
            <p:nvPr/>
          </p:nvSpPr>
          <p:spPr>
            <a:xfrm>
              <a:off x="3942662" y="1224429"/>
              <a:ext cx="2732718" cy="17766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139700" rIns="139700" bIns="20955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Play"/>
                <a:buNone/>
              </a:pPr>
              <a:r>
                <a:rPr lang="en-US" sz="2600">
                  <a:latin typeface="Aptos Display"/>
                  <a:ea typeface="Play"/>
                  <a:cs typeface="Play"/>
                  <a:sym typeface="Play"/>
                </a:rPr>
                <a:t>Respectful Care Practices and Listening to Families</a:t>
              </a:r>
              <a:endParaRPr lang="en-US" sz="2600">
                <a:latin typeface="Aptos Display"/>
                <a:ea typeface="Arial"/>
                <a:cs typeface="Arial"/>
              </a:endParaRPr>
            </a:p>
          </p:txBody>
        </p:sp>
        <p:sp>
          <p:nvSpPr>
            <p:cNvPr id="22754" name="Google Shape;22754;p53"/>
            <p:cNvSpPr/>
            <p:nvPr/>
          </p:nvSpPr>
          <p:spPr>
            <a:xfrm>
              <a:off x="3942662" y="600210"/>
              <a:ext cx="2732718" cy="6242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5" name="Google Shape;22755;p53"/>
            <p:cNvSpPr txBox="1"/>
            <p:nvPr/>
          </p:nvSpPr>
          <p:spPr>
            <a:xfrm>
              <a:off x="3942662" y="600210"/>
              <a:ext cx="2732718" cy="6242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1397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Play"/>
                <a:buNone/>
              </a:pPr>
              <a:r>
                <a:rPr lang="en-US" sz="2200" b="1">
                  <a:solidFill>
                    <a:schemeClr val="dk1"/>
                  </a:solidFill>
                  <a:latin typeface="Play"/>
                  <a:ea typeface="Play"/>
                  <a:cs typeface="Play"/>
                  <a:sym typeface="Play"/>
                </a:rPr>
                <a:t>August</a:t>
              </a:r>
              <a:endParaRPr sz="2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2756" name="Google Shape;22756;p53"/>
            <p:cNvCxnSpPr/>
            <p:nvPr/>
          </p:nvCxnSpPr>
          <p:spPr>
            <a:xfrm>
              <a:off x="3635623" y="1224429"/>
              <a:ext cx="0" cy="1776622"/>
            </a:xfrm>
            <a:prstGeom prst="straightConnector1">
              <a:avLst/>
            </a:prstGeom>
            <a:noFill/>
            <a:ln w="12700" cap="flat" cmpd="sng">
              <a:solidFill>
                <a:srgbClr val="0C9ED5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22757" name="Google Shape;22757;p53"/>
            <p:cNvSpPr/>
            <p:nvPr/>
          </p:nvSpPr>
          <p:spPr>
            <a:xfrm>
              <a:off x="3585426" y="2944871"/>
              <a:ext cx="110534" cy="112359"/>
            </a:xfrm>
            <a:prstGeom prst="ellipse">
              <a:avLst/>
            </a:prstGeom>
            <a:solidFill>
              <a:srgbClr val="0C9ED5"/>
            </a:solidFill>
            <a:ln w="952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8" name="Google Shape;22758;p53"/>
            <p:cNvSpPr/>
            <p:nvPr/>
          </p:nvSpPr>
          <p:spPr>
            <a:xfrm rot="-2700000">
              <a:off x="5082514" y="4872673"/>
              <a:ext cx="434219" cy="434219"/>
            </a:xfrm>
            <a:prstGeom prst="teardrop">
              <a:avLst>
                <a:gd name="adj" fmla="val 115000"/>
              </a:avLst>
            </a:prstGeom>
            <a:solidFill>
              <a:srgbClr val="A02891"/>
            </a:solidFill>
            <a:ln w="19050" cap="flat" cmpd="sng">
              <a:solidFill>
                <a:srgbClr val="A0289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59" name="Google Shape;22759;p53"/>
            <p:cNvSpPr/>
            <p:nvPr/>
          </p:nvSpPr>
          <p:spPr>
            <a:xfrm>
              <a:off x="5130752" y="4920911"/>
              <a:ext cx="337743" cy="337743"/>
            </a:xfrm>
            <a:prstGeom prst="ellipse">
              <a:avLst/>
            </a:prstGeom>
            <a:solidFill>
              <a:schemeClr val="lt1">
                <a:alpha val="89803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0" name="Google Shape;22760;p53"/>
            <p:cNvSpPr/>
            <p:nvPr/>
          </p:nvSpPr>
          <p:spPr>
            <a:xfrm>
              <a:off x="5606664" y="3001051"/>
              <a:ext cx="2732718" cy="17766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1" name="Google Shape;22761;p53"/>
            <p:cNvSpPr txBox="1"/>
            <p:nvPr/>
          </p:nvSpPr>
          <p:spPr>
            <a:xfrm>
              <a:off x="5606664" y="3001051"/>
              <a:ext cx="2732718" cy="17766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209550" rIns="0" bIns="139700" anchor="b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200"/>
                <a:buFont typeface="Calibri"/>
                <a:buNone/>
              </a:pPr>
              <a:r>
                <a:rPr lang="en-US" sz="2600" b="0">
                  <a:latin typeface="Aptos Display"/>
                  <a:ea typeface="Calibri"/>
                  <a:cs typeface="Calibri"/>
                  <a:sym typeface="Calibri"/>
                </a:rPr>
                <a:t>SDOH Screening and Integrating into EMR</a:t>
              </a:r>
              <a:endParaRPr lang="en-US" sz="2600">
                <a:latin typeface="Aptos Display"/>
              </a:endParaRPr>
            </a:p>
          </p:txBody>
        </p:sp>
        <p:sp>
          <p:nvSpPr>
            <p:cNvPr id="22762" name="Google Shape;22762;p53"/>
            <p:cNvSpPr/>
            <p:nvPr/>
          </p:nvSpPr>
          <p:spPr>
            <a:xfrm>
              <a:off x="5606664" y="4777673"/>
              <a:ext cx="2732718" cy="6242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3" name="Google Shape;22763;p53"/>
            <p:cNvSpPr txBox="1"/>
            <p:nvPr/>
          </p:nvSpPr>
          <p:spPr>
            <a:xfrm>
              <a:off x="5606664" y="4777673"/>
              <a:ext cx="2732718" cy="6242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1397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Play"/>
                <a:buNone/>
              </a:pPr>
              <a:r>
                <a:rPr lang="en-US" sz="2200" b="1">
                  <a:solidFill>
                    <a:schemeClr val="dk1"/>
                  </a:solidFill>
                  <a:latin typeface="Play"/>
                  <a:ea typeface="Play"/>
                  <a:cs typeface="Play"/>
                  <a:sym typeface="Play"/>
                </a:rPr>
                <a:t>September</a:t>
              </a:r>
              <a:endParaRPr sz="2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2764" name="Google Shape;22764;p53"/>
            <p:cNvCxnSpPr/>
            <p:nvPr/>
          </p:nvCxnSpPr>
          <p:spPr>
            <a:xfrm>
              <a:off x="5299624" y="3001051"/>
              <a:ext cx="0" cy="1776622"/>
            </a:xfrm>
            <a:prstGeom prst="straightConnector1">
              <a:avLst/>
            </a:prstGeom>
            <a:noFill/>
            <a:ln w="12700" cap="flat" cmpd="sng">
              <a:solidFill>
                <a:srgbClr val="A0289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22765" name="Google Shape;22765;p53"/>
            <p:cNvSpPr/>
            <p:nvPr/>
          </p:nvSpPr>
          <p:spPr>
            <a:xfrm>
              <a:off x="5249427" y="2944871"/>
              <a:ext cx="110534" cy="112359"/>
            </a:xfrm>
            <a:prstGeom prst="ellipse">
              <a:avLst/>
            </a:prstGeom>
            <a:solidFill>
              <a:srgbClr val="A02891"/>
            </a:solidFill>
            <a:ln w="952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6" name="Google Shape;22766;p53"/>
            <p:cNvSpPr/>
            <p:nvPr/>
          </p:nvSpPr>
          <p:spPr>
            <a:xfrm rot="8100000">
              <a:off x="6746516" y="695209"/>
              <a:ext cx="434219" cy="434219"/>
            </a:xfrm>
            <a:prstGeom prst="teardrop">
              <a:avLst>
                <a:gd name="adj" fmla="val 115000"/>
              </a:avLst>
            </a:prstGeom>
            <a:solidFill>
              <a:srgbClr val="4EA62C"/>
            </a:solidFill>
            <a:ln w="19050" cap="flat" cmpd="sng">
              <a:solidFill>
                <a:srgbClr val="4EA62C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7" name="Google Shape;22767;p53"/>
            <p:cNvSpPr/>
            <p:nvPr/>
          </p:nvSpPr>
          <p:spPr>
            <a:xfrm>
              <a:off x="6794753" y="743447"/>
              <a:ext cx="337743" cy="337743"/>
            </a:xfrm>
            <a:prstGeom prst="ellipse">
              <a:avLst/>
            </a:prstGeom>
            <a:solidFill>
              <a:schemeClr val="lt1">
                <a:alpha val="89803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8" name="Google Shape;22768;p53"/>
            <p:cNvSpPr/>
            <p:nvPr/>
          </p:nvSpPr>
          <p:spPr>
            <a:xfrm>
              <a:off x="7270665" y="1224429"/>
              <a:ext cx="2732718" cy="17766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69" name="Google Shape;22769;p53"/>
            <p:cNvSpPr txBox="1"/>
            <p:nvPr/>
          </p:nvSpPr>
          <p:spPr>
            <a:xfrm>
              <a:off x="7270665" y="1224429"/>
              <a:ext cx="2732718" cy="17766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139700" rIns="139700" bIns="20955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Arial"/>
                <a:buNone/>
              </a:pPr>
              <a:r>
                <a:rPr lang="en-US" sz="2600">
                  <a:latin typeface="Aptos Display"/>
                  <a:ea typeface="Arial"/>
                  <a:cs typeface="Arial"/>
                  <a:sym typeface="Arial"/>
                </a:rPr>
                <a:t>2024 </a:t>
              </a:r>
              <a:r>
                <a:rPr lang="en-US" sz="2600">
                  <a:latin typeface="Aptos Display"/>
                  <a:ea typeface="Play"/>
                  <a:cs typeface="Play"/>
                  <a:sym typeface="Play"/>
                </a:rPr>
                <a:t>Annual Conference, 10/30/24</a:t>
              </a:r>
              <a:endParaRPr lang="en-US" sz="2600">
                <a:latin typeface="Aptos Display"/>
              </a:endParaRPr>
            </a:p>
            <a:p>
              <a:pPr marL="0" marR="0" lvl="0" indent="0" algn="l" rtl="0">
                <a:lnSpc>
                  <a:spcPct val="90000"/>
                </a:lnSpc>
                <a:spcBef>
                  <a:spcPts val="77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Play"/>
                <a:buNone/>
              </a:pPr>
              <a:r>
                <a:rPr lang="en-US" sz="2600">
                  <a:latin typeface="Aptos Display"/>
                  <a:ea typeface="Play"/>
                  <a:cs typeface="Play"/>
                  <a:sym typeface="Play"/>
                </a:rPr>
                <a:t>Lombard, IL</a:t>
              </a:r>
              <a:endParaRPr sz="2600">
                <a:solidFill>
                  <a:srgbClr val="444C55"/>
                </a:solidFill>
                <a:latin typeface="Aptos Display"/>
              </a:endParaRPr>
            </a:p>
          </p:txBody>
        </p:sp>
        <p:sp>
          <p:nvSpPr>
            <p:cNvPr id="22770" name="Google Shape;22770;p53"/>
            <p:cNvSpPr/>
            <p:nvPr/>
          </p:nvSpPr>
          <p:spPr>
            <a:xfrm>
              <a:off x="7270665" y="600210"/>
              <a:ext cx="2732718" cy="6242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71" name="Google Shape;22771;p53"/>
            <p:cNvSpPr txBox="1"/>
            <p:nvPr/>
          </p:nvSpPr>
          <p:spPr>
            <a:xfrm>
              <a:off x="7270665" y="600210"/>
              <a:ext cx="2732718" cy="6242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1397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Play"/>
                <a:buNone/>
              </a:pPr>
              <a:r>
                <a:rPr lang="en-US" sz="2200" b="1">
                  <a:solidFill>
                    <a:schemeClr val="dk1"/>
                  </a:solidFill>
                  <a:latin typeface="Play"/>
                  <a:ea typeface="Play"/>
                  <a:cs typeface="Play"/>
                  <a:sym typeface="Play"/>
                </a:rPr>
                <a:t>October</a:t>
              </a:r>
              <a:endParaRPr sz="2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2772" name="Google Shape;22772;p53"/>
            <p:cNvCxnSpPr/>
            <p:nvPr/>
          </p:nvCxnSpPr>
          <p:spPr>
            <a:xfrm>
              <a:off x="6963625" y="1224429"/>
              <a:ext cx="0" cy="1776622"/>
            </a:xfrm>
            <a:prstGeom prst="straightConnector1">
              <a:avLst/>
            </a:prstGeom>
            <a:noFill/>
            <a:ln w="12700" cap="flat" cmpd="sng">
              <a:solidFill>
                <a:srgbClr val="4EA62C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sp>
          <p:nvSpPr>
            <p:cNvPr id="22773" name="Google Shape;22773;p53"/>
            <p:cNvSpPr/>
            <p:nvPr/>
          </p:nvSpPr>
          <p:spPr>
            <a:xfrm>
              <a:off x="6913428" y="2944871"/>
              <a:ext cx="110534" cy="112359"/>
            </a:xfrm>
            <a:prstGeom prst="ellipse">
              <a:avLst/>
            </a:prstGeom>
            <a:solidFill>
              <a:srgbClr val="4EA62C"/>
            </a:solidFill>
            <a:ln w="952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2775" name="Google Shape;22775;p53"/>
          <p:cNvSpPr txBox="1"/>
          <p:nvPr/>
        </p:nvSpPr>
        <p:spPr>
          <a:xfrm>
            <a:off x="307091" y="297873"/>
            <a:ext cx="3484368" cy="62103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 fontScale="77500" lnSpcReduction="20000"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ct val="100000"/>
              <a:buFont typeface="Arial"/>
              <a:buNone/>
            </a:pPr>
            <a:r>
              <a:rPr lang="en-US" sz="4000" b="0" i="0" u="none" strike="noStrike" cap="none">
                <a:solidFill>
                  <a:srgbClr val="002060"/>
                </a:solidFill>
                <a:latin typeface="Aptos Display"/>
                <a:sym typeface="Arial"/>
              </a:rPr>
              <a:t>ESSI: Next 6 Months</a:t>
            </a:r>
            <a:endParaRPr sz="4000" b="0" i="0" u="none" strike="noStrike" cap="none">
              <a:solidFill>
                <a:srgbClr val="002060"/>
              </a:solidFill>
              <a:latin typeface="Aptos Display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912358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844675"/>
            <a:ext cx="2805113" cy="1347788"/>
          </a:xfrm>
        </p:spPr>
        <p:txBody>
          <a:bodyPr/>
          <a:lstStyle/>
          <a:p>
            <a:pPr algn="ctr"/>
            <a:r>
              <a:rPr lang="en-US" sz="4000">
                <a:latin typeface="DM Sans"/>
                <a:ea typeface="Lato Medium"/>
                <a:cs typeface="Lato Medium"/>
              </a:rPr>
              <a:t>Key Driver Diagram</a:t>
            </a:r>
            <a:endParaRPr lang="en-US" sz="4000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04202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3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0556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</a:rPr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>
                <a:latin typeface="Calibri"/>
                <a:cs typeface="Calibri"/>
              </a:rPr>
              <a:t>By December 2025: </a:t>
            </a:r>
            <a:endParaRPr lang="en-US" sz="1500">
              <a:latin typeface="Calibri"/>
              <a:ea typeface="Calibri"/>
              <a:cs typeface="Calibri"/>
            </a:endParaRPr>
          </a:p>
          <a:p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latin typeface="Calibri"/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2. Greater than 80% of infants will be discharged from ILPQC hospitals with a completed ESSI bundle. </a:t>
            </a:r>
            <a:r>
              <a:rPr lang="en-US" sz="1500"/>
              <a:t>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dirty="0">
                <a:latin typeface="Calibri"/>
                <a:cs typeface="Calibri"/>
              </a:rPr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dirty="0">
                <a:latin typeface="Calibri"/>
                <a:cs typeface="Calibri"/>
              </a:rPr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Parent and Caregiver Empowerment</a:t>
            </a:r>
            <a:endParaRPr lang="en-US" sz="1600">
              <a:latin typeface="Calibri"/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Community </a:t>
            </a:r>
            <a:r>
              <a:rPr lang="en-US" sz="160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600">
                <a:solidFill>
                  <a:schemeClr val="tx1"/>
                </a:solidFill>
                <a:latin typeface="Calibri"/>
                <a:cs typeface="Calibri"/>
              </a:rPr>
              <a:t>Partnerships</a:t>
            </a:r>
            <a:endParaRPr lang="en-US" sz="16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"/>
                <a:cs typeface="Calibri"/>
              </a:rPr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"/>
                <a:cs typeface="Calibri"/>
              </a:rPr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Parent and Caregiver Experience Prioritization</a:t>
            </a:r>
            <a:endParaRPr lang="en-US" sz="1400" err="1">
              <a:latin typeface="Calibri"/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pectful Parent and Caregiver Partnerships</a:t>
            </a:r>
            <a:endParaRPr lang="en-US" sz="1400">
              <a:solidFill>
                <a:srgbClr val="FF0000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Aware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  <a:latin typeface="Calibri"/>
                <a:cs typeface="Calibri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Dissemination of Stratified Data</a:t>
            </a:r>
            <a:endParaRPr lang="en-US" sz="14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Application of Data to Address Inequities</a:t>
            </a:r>
            <a:endParaRPr lang="en-US" sz="1400">
              <a:latin typeface="Calibri"/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Awareness</a:t>
            </a:r>
            <a:r>
              <a:rPr lang="en-US" sz="1400">
                <a:latin typeface="Calibri"/>
                <a:cs typeface="Calibri"/>
              </a:rPr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Readiness</a:t>
            </a:r>
            <a:r>
              <a:rPr lang="en-US" sz="1400">
                <a:latin typeface="Calibri"/>
                <a:cs typeface="Calibri"/>
              </a:rPr>
              <a:t>: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Transfer of Care</a:t>
            </a:r>
            <a:r>
              <a:rPr lang="en-US" sz="1400">
                <a:latin typeface="Calibri"/>
                <a:cs typeface="Calibri"/>
              </a:rPr>
              <a:t>: ESSI Newborn Care Plan (Awareness &amp; Readiness) documented in the discharge 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717408" y="1624305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282029" y="1428443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dirty="0">
                <a:cs typeface="Calibri"/>
              </a:rPr>
              <a:t>2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69768941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25A4389-CCAA-3695-AD78-A054E3EB7C85}"/>
              </a:ext>
            </a:extLst>
          </p:cNvPr>
          <p:cNvSpPr/>
          <p:nvPr/>
        </p:nvSpPr>
        <p:spPr>
          <a:xfrm>
            <a:off x="6910294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72587918-2B52-E3D8-671C-5A0636525B0B}"/>
              </a:ext>
            </a:extLst>
          </p:cNvPr>
          <p:cNvSpPr/>
          <p:nvPr/>
        </p:nvSpPr>
        <p:spPr>
          <a:xfrm>
            <a:off x="364620" y="685801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FC1EAC1A-A4F6-E51C-16F6-E89C2A4CB44B}"/>
              </a:ext>
            </a:extLst>
          </p:cNvPr>
          <p:cNvSpPr txBox="1"/>
          <p:nvPr/>
        </p:nvSpPr>
        <p:spPr>
          <a:xfrm>
            <a:off x="1136496" y="411531"/>
            <a:ext cx="10150100" cy="5469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4800"/>
              </a:lnSpc>
            </a:pPr>
            <a:r>
              <a:rPr lang="en-US" sz="2500" b="1" i="1" dirty="0">
                <a:solidFill>
                  <a:srgbClr val="813158"/>
                </a:solidFill>
                <a:latin typeface="Aptos Display"/>
              </a:rPr>
              <a:t>June: </a:t>
            </a:r>
            <a:r>
              <a:rPr lang="en-US" sz="2500" b="1" dirty="0">
                <a:solidFill>
                  <a:srgbClr val="813158"/>
                </a:solidFill>
                <a:latin typeface="Aptos Display"/>
              </a:rPr>
              <a:t>Policy Review with an Equity Lens</a:t>
            </a:r>
            <a:endParaRPr lang="en-US" dirty="0">
              <a:cs typeface="Arial"/>
            </a:endParaRP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4ADF7ED8-6276-D2E7-DBF9-494CDE413200}"/>
              </a:ext>
            </a:extLst>
          </p:cNvPr>
          <p:cNvSpPr txBox="1"/>
          <p:nvPr/>
        </p:nvSpPr>
        <p:spPr>
          <a:xfrm>
            <a:off x="1500712" y="6046235"/>
            <a:ext cx="10150100" cy="4424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680"/>
              </a:lnSpc>
            </a:pPr>
            <a:r>
              <a:rPr lang="en-US" sz="1800" b="1">
                <a:solidFill>
                  <a:srgbClr val="803158"/>
                </a:solidFill>
                <a:latin typeface="aptos displ"/>
                <a:ea typeface="+mn-lt"/>
                <a:cs typeface="+mn-lt"/>
              </a:rPr>
              <a:t>Hospital has a standardized process for reviewing all unit policies with an equity lens and making necessary changes. </a:t>
            </a:r>
            <a:endParaRPr lang="en-US" sz="1800" b="1">
              <a:solidFill>
                <a:srgbClr val="803158"/>
              </a:solidFill>
              <a:latin typeface="aptos displ"/>
            </a:endParaRPr>
          </a:p>
        </p:txBody>
      </p:sp>
      <p:pic>
        <p:nvPicPr>
          <p:cNvPr id="15" name="Picture 14" descr="A row of rectangular colored rectangles&#10;&#10;Description automatically generated">
            <a:extLst>
              <a:ext uri="{FF2B5EF4-FFF2-40B4-BE49-F238E27FC236}">
                <a16:creationId xmlns:a16="http://schemas.microsoft.com/office/drawing/2014/main" id="{D35CA77F-004B-4467-1843-A42E7A23679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57"/>
          <a:stretch/>
        </p:blipFill>
        <p:spPr>
          <a:xfrm>
            <a:off x="2043514" y="989396"/>
            <a:ext cx="8349724" cy="4881651"/>
          </a:xfrm>
          <a:prstGeom prst="rect">
            <a:avLst/>
          </a:prstGeom>
        </p:spPr>
      </p:pic>
      <p:sp>
        <p:nvSpPr>
          <p:cNvPr id="18" name="TextBox 6">
            <a:extLst>
              <a:ext uri="{FF2B5EF4-FFF2-40B4-BE49-F238E27FC236}">
                <a16:creationId xmlns:a16="http://schemas.microsoft.com/office/drawing/2014/main" id="{948829FD-D6EC-1A4B-2358-D5A9C3C5D797}"/>
              </a:ext>
            </a:extLst>
          </p:cNvPr>
          <p:cNvSpPr txBox="1"/>
          <p:nvPr/>
        </p:nvSpPr>
        <p:spPr>
          <a:xfrm>
            <a:off x="9595322" y="3286009"/>
            <a:ext cx="2377539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lvl="1">
              <a:lnSpc>
                <a:spcPts val="2400"/>
              </a:lnSpc>
            </a:pPr>
            <a:r>
              <a:rPr lang="en-US" sz="2000" b="1">
                <a:solidFill>
                  <a:srgbClr val="813158"/>
                </a:solidFill>
                <a:latin typeface="Aptos"/>
              </a:rPr>
              <a:t>24 Hospitals are actively working on this measure</a:t>
            </a:r>
          </a:p>
        </p:txBody>
      </p:sp>
    </p:spTree>
    <p:extLst>
      <p:ext uri="{BB962C8B-B14F-4D97-AF65-F5344CB8AC3E}">
        <p14:creationId xmlns:p14="http://schemas.microsoft.com/office/powerpoint/2010/main" val="22452447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25A4389-CCAA-3695-AD78-A054E3EB7C85}"/>
              </a:ext>
            </a:extLst>
          </p:cNvPr>
          <p:cNvSpPr/>
          <p:nvPr/>
        </p:nvSpPr>
        <p:spPr>
          <a:xfrm>
            <a:off x="6910294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72587918-2B52-E3D8-671C-5A0636525B0B}"/>
              </a:ext>
            </a:extLst>
          </p:cNvPr>
          <p:cNvSpPr/>
          <p:nvPr/>
        </p:nvSpPr>
        <p:spPr>
          <a:xfrm>
            <a:off x="364620" y="685801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FC1EAC1A-A4F6-E51C-16F6-E89C2A4CB44B}"/>
              </a:ext>
            </a:extLst>
          </p:cNvPr>
          <p:cNvSpPr txBox="1"/>
          <p:nvPr/>
        </p:nvSpPr>
        <p:spPr>
          <a:xfrm>
            <a:off x="1136496" y="411531"/>
            <a:ext cx="10150100" cy="5469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4800"/>
              </a:lnSpc>
            </a:pPr>
            <a:r>
              <a:rPr lang="en-US" sz="2500" b="1" i="1">
                <a:solidFill>
                  <a:srgbClr val="813158"/>
                </a:solidFill>
                <a:latin typeface="Aptos Display"/>
              </a:rPr>
              <a:t>July: </a:t>
            </a:r>
            <a:r>
              <a:rPr lang="en-US" sz="2500" b="1">
                <a:solidFill>
                  <a:srgbClr val="813158"/>
                </a:solidFill>
                <a:latin typeface="Aptos Display"/>
              </a:rPr>
              <a:t>Interpreters and Preferred Language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4ADF7ED8-6276-D2E7-DBF9-494CDE413200}"/>
              </a:ext>
            </a:extLst>
          </p:cNvPr>
          <p:cNvSpPr txBox="1"/>
          <p:nvPr/>
        </p:nvSpPr>
        <p:spPr>
          <a:xfrm>
            <a:off x="1500712" y="6195647"/>
            <a:ext cx="10150100" cy="4454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680"/>
              </a:lnSpc>
            </a:pPr>
            <a:r>
              <a:rPr lang="en-US" sz="1800" b="1">
                <a:solidFill>
                  <a:srgbClr val="803158"/>
                </a:solidFill>
                <a:latin typeface="Aptos"/>
                <a:ea typeface="+mn-lt"/>
                <a:cs typeface="+mn-lt"/>
              </a:rPr>
              <a:t>Hospital has a standardized process to use qualified language interpreters in parents/caregivers' preferred language.</a:t>
            </a:r>
          </a:p>
        </p:txBody>
      </p:sp>
      <p:pic>
        <p:nvPicPr>
          <p:cNvPr id="3" name="Picture 2" descr="A green rectangular object with yellow and red dots&#10;&#10;Description automatically generated">
            <a:extLst>
              <a:ext uri="{FF2B5EF4-FFF2-40B4-BE49-F238E27FC236}">
                <a16:creationId xmlns:a16="http://schemas.microsoft.com/office/drawing/2014/main" id="{FF76609E-DE64-9926-35A5-B916BAAF16C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93484" y="1068295"/>
            <a:ext cx="7628995" cy="5011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13604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A268F13-39D2-A821-3AC4-1BDB1C0391E5}"/>
              </a:ext>
            </a:extLst>
          </p:cNvPr>
          <p:cNvSpPr/>
          <p:nvPr/>
        </p:nvSpPr>
        <p:spPr>
          <a:xfrm>
            <a:off x="6895352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03" t="11347" r="556" b="8817"/>
          <a:stretch/>
        </p:blipFill>
        <p:spPr>
          <a:xfrm>
            <a:off x="567698" y="1221826"/>
            <a:ext cx="7616521" cy="4810337"/>
          </a:xfrm>
          <a:prstGeom prst="rect">
            <a:avLst/>
          </a:prstGeom>
        </p:spPr>
      </p:pic>
      <p:sp>
        <p:nvSpPr>
          <p:cNvPr id="4" name="Freeform 4"/>
          <p:cNvSpPr/>
          <p:nvPr/>
        </p:nvSpPr>
        <p:spPr>
          <a:xfrm>
            <a:off x="8457110" y="2454257"/>
            <a:ext cx="2866915" cy="2940805"/>
          </a:xfrm>
          <a:custGeom>
            <a:avLst/>
            <a:gdLst/>
            <a:ahLst/>
            <a:cxnLst/>
            <a:rect l="l" t="t" r="r" b="b"/>
            <a:pathLst>
              <a:path w="4300373" h="4411207">
                <a:moveTo>
                  <a:pt x="0" y="0"/>
                </a:moveTo>
                <a:lnTo>
                  <a:pt x="4300372" y="0"/>
                </a:lnTo>
                <a:lnTo>
                  <a:pt x="4300372" y="4411207"/>
                </a:lnTo>
                <a:lnTo>
                  <a:pt x="0" y="4411207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5" name="TextBox 5"/>
          <p:cNvSpPr txBox="1"/>
          <p:nvPr/>
        </p:nvSpPr>
        <p:spPr>
          <a:xfrm>
            <a:off x="1021469" y="500574"/>
            <a:ext cx="10150100" cy="5398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4800"/>
              </a:lnSpc>
            </a:pPr>
            <a:r>
              <a:rPr lang="en-US" sz="2200" b="1" i="1">
                <a:solidFill>
                  <a:srgbClr val="803158"/>
                </a:solidFill>
                <a:latin typeface="Aptos"/>
              </a:rPr>
              <a:t>August: </a:t>
            </a:r>
            <a:r>
              <a:rPr lang="en-US" sz="2200" b="1">
                <a:solidFill>
                  <a:srgbClr val="803158"/>
                </a:solidFill>
                <a:latin typeface="Aptos"/>
                <a:ea typeface="+mn-lt"/>
                <a:cs typeface="+mn-lt"/>
              </a:rPr>
              <a:t>Respectful Care Practices and Listening to Families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-1105" y="6057077"/>
            <a:ext cx="8176206" cy="10156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200" b="1">
                <a:solidFill>
                  <a:srgbClr val="813158"/>
                </a:solidFill>
                <a:latin typeface="Aptos"/>
              </a:rPr>
              <a:t>Hospital has parent(s) and/or caregiver(s) on the newborn quality improvement team. </a:t>
            </a:r>
            <a:endParaRPr lang="en-US"/>
          </a:p>
          <a:p>
            <a:pPr algn="ctr"/>
            <a:endParaRPr lang="en-US" sz="2200" b="1">
              <a:solidFill>
                <a:srgbClr val="813158"/>
              </a:solidFill>
              <a:latin typeface="Aptos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7989716" y="1600160"/>
            <a:ext cx="3803868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lvl="1" indent="-215900">
              <a:buFont typeface="Arial"/>
              <a:buChar char="•"/>
            </a:pPr>
            <a:r>
              <a:rPr lang="en-US" sz="2000" b="1">
                <a:solidFill>
                  <a:srgbClr val="813158"/>
                </a:solidFill>
                <a:latin typeface="Aptos"/>
              </a:rPr>
              <a:t>Patient Partners </a:t>
            </a:r>
            <a:endParaRPr lang="en-US" sz="2000"/>
          </a:p>
          <a:p>
            <a:pPr marL="431800" lvl="1" indent="-215900" algn="l">
              <a:buFont typeface="Arial"/>
              <a:buChar char="•"/>
            </a:pPr>
            <a:r>
              <a:rPr lang="en-US" sz="2000" b="1">
                <a:solidFill>
                  <a:srgbClr val="813158"/>
                </a:solidFill>
                <a:latin typeface="Aptos"/>
              </a:rPr>
              <a:t>Respectful Care Breakfas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A50BF1D-D0A3-D88A-DCFE-6F1D22A6D16A}"/>
              </a:ext>
            </a:extLst>
          </p:cNvPr>
          <p:cNvSpPr txBox="1"/>
          <p:nvPr/>
        </p:nvSpPr>
        <p:spPr>
          <a:xfrm>
            <a:off x="8140235" y="5557358"/>
            <a:ext cx="3803868" cy="62741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lvl="1">
              <a:lnSpc>
                <a:spcPts val="2400"/>
              </a:lnSpc>
            </a:pPr>
            <a:r>
              <a:rPr lang="en-US" sz="2500" b="1" i="1">
                <a:solidFill>
                  <a:srgbClr val="813158"/>
                </a:solidFill>
                <a:latin typeface="Aptos Display"/>
              </a:rPr>
              <a:t>13 hospitals have this measure in place!</a:t>
            </a:r>
            <a:endParaRPr lang="en-US" sz="2500" i="1">
              <a:latin typeface="Aptos Display"/>
              <a:cs typeface="Arial"/>
            </a:endParaRPr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062C2CF3-F492-6F0C-A523-5B17583F715F}"/>
              </a:ext>
            </a:extLst>
          </p:cNvPr>
          <p:cNvSpPr/>
          <p:nvPr/>
        </p:nvSpPr>
        <p:spPr>
          <a:xfrm>
            <a:off x="364620" y="685801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3113723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2" name="Google Shape;2322;p4"/>
          <p:cNvSpPr/>
          <p:nvPr/>
        </p:nvSpPr>
        <p:spPr>
          <a:xfrm>
            <a:off x="0" y="0"/>
            <a:ext cx="12188949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23" name="Google Shape;2323;p4"/>
          <p:cNvSpPr/>
          <p:nvPr/>
        </p:nvSpPr>
        <p:spPr>
          <a:xfrm>
            <a:off x="3051" y="0"/>
            <a:ext cx="12188949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24" name="Google Shape;2324;p4"/>
          <p:cNvGrpSpPr/>
          <p:nvPr/>
        </p:nvGrpSpPr>
        <p:grpSpPr>
          <a:xfrm>
            <a:off x="0" y="0"/>
            <a:ext cx="4707053" cy="6858000"/>
            <a:chOff x="651279" y="598259"/>
            <a:chExt cx="10889442" cy="5680742"/>
          </a:xfrm>
        </p:grpSpPr>
        <p:sp>
          <p:nvSpPr>
            <p:cNvPr id="2325" name="Google Shape;2325;p4"/>
            <p:cNvSpPr/>
            <p:nvPr/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6" name="Google Shape;2326;p4"/>
            <p:cNvSpPr/>
            <p:nvPr/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2941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327" name="Google Shape;2327;p4"/>
          <p:cNvGrpSpPr/>
          <p:nvPr/>
        </p:nvGrpSpPr>
        <p:grpSpPr>
          <a:xfrm>
            <a:off x="-3051" y="225778"/>
            <a:ext cx="12188952" cy="6858000"/>
            <a:chOff x="0" y="0"/>
            <a:chExt cx="12188952" cy="6858000"/>
          </a:xfrm>
        </p:grpSpPr>
        <p:sp>
          <p:nvSpPr>
            <p:cNvPr id="2328" name="Google Shape;2328;p4"/>
            <p:cNvSpPr/>
            <p:nvPr/>
          </p:nvSpPr>
          <p:spPr>
            <a:xfrm>
              <a:off x="26122" y="6015669"/>
              <a:ext cx="2605762" cy="842331"/>
            </a:xfrm>
            <a:custGeom>
              <a:avLst/>
              <a:gdLst/>
              <a:ahLst/>
              <a:cxnLst/>
              <a:rect l="l" t="t" r="r" b="b"/>
              <a:pathLst>
                <a:path w="3180577" h="1033951" extrusionOk="0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lt1">
                <a:alpha val="941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9" name="Google Shape;2329;p4"/>
            <p:cNvSpPr/>
            <p:nvPr/>
          </p:nvSpPr>
          <p:spPr>
            <a:xfrm>
              <a:off x="655184" y="5798001"/>
              <a:ext cx="2485581" cy="1059999"/>
            </a:xfrm>
            <a:custGeom>
              <a:avLst/>
              <a:gdLst/>
              <a:ahLst/>
              <a:cxnLst/>
              <a:rect l="l" t="t" r="r" b="b"/>
              <a:pathLst>
                <a:path w="2449768" h="1050628" extrusionOk="0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lt1">
                <a:alpha val="2941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0" name="Google Shape;2330;p4"/>
            <p:cNvSpPr/>
            <p:nvPr/>
          </p:nvSpPr>
          <p:spPr>
            <a:xfrm>
              <a:off x="3474720" y="0"/>
              <a:ext cx="6177282" cy="1778750"/>
            </a:xfrm>
            <a:custGeom>
              <a:avLst/>
              <a:gdLst/>
              <a:ahLst/>
              <a:cxnLst/>
              <a:rect l="l" t="t" r="r" b="b"/>
              <a:pathLst>
                <a:path w="6386648" h="1849426" extrusionOk="0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lt1">
                <a:alpha val="4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1" name="Google Shape;2331;p4"/>
            <p:cNvSpPr/>
            <p:nvPr/>
          </p:nvSpPr>
          <p:spPr>
            <a:xfrm>
              <a:off x="0" y="2390523"/>
              <a:ext cx="611491" cy="1421482"/>
            </a:xfrm>
            <a:custGeom>
              <a:avLst/>
              <a:gdLst/>
              <a:ahLst/>
              <a:cxnLst/>
              <a:rect l="l" t="t" r="r" b="b"/>
              <a:pathLst>
                <a:path w="611491" h="1429512" extrusionOk="0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lt1">
                <a:alpha val="2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2" name="Google Shape;2332;p4"/>
            <p:cNvSpPr/>
            <p:nvPr/>
          </p:nvSpPr>
          <p:spPr>
            <a:xfrm>
              <a:off x="3792772" y="0"/>
              <a:ext cx="2423863" cy="1343767"/>
            </a:xfrm>
            <a:custGeom>
              <a:avLst/>
              <a:gdLst/>
              <a:ahLst/>
              <a:cxnLst/>
              <a:rect l="l" t="t" r="r" b="b"/>
              <a:pathLst>
                <a:path w="3015964" h="1681468" extrusionOk="0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lt1">
                <a:alpha val="941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3" name="Google Shape;2333;p4"/>
            <p:cNvSpPr/>
            <p:nvPr/>
          </p:nvSpPr>
          <p:spPr>
            <a:xfrm>
              <a:off x="10946850" y="0"/>
              <a:ext cx="1242102" cy="2620884"/>
            </a:xfrm>
            <a:custGeom>
              <a:avLst/>
              <a:gdLst/>
              <a:ahLst/>
              <a:cxnLst/>
              <a:rect l="l" t="t" r="r" b="b"/>
              <a:pathLst>
                <a:path w="1242102" h="2635689" extrusionOk="0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lt1">
                <a:alpha val="9411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34" name="Google Shape;2334;p4"/>
            <p:cNvSpPr/>
            <p:nvPr/>
          </p:nvSpPr>
          <p:spPr>
            <a:xfrm>
              <a:off x="0" y="0"/>
              <a:ext cx="1577788" cy="980141"/>
            </a:xfrm>
            <a:custGeom>
              <a:avLst/>
              <a:gdLst/>
              <a:ahLst/>
              <a:cxnLst/>
              <a:rect l="l" t="t" r="r" b="b"/>
              <a:pathLst>
                <a:path w="1471018" h="795676" extrusionOk="0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lt1">
                <a:alpha val="6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35" name="Google Shape;2335;p4"/>
          <p:cNvSpPr txBox="1">
            <a:spLocks noGrp="1"/>
          </p:cNvSpPr>
          <p:nvPr>
            <p:ph type="title"/>
          </p:nvPr>
        </p:nvSpPr>
        <p:spPr>
          <a:xfrm>
            <a:off x="614865" y="530068"/>
            <a:ext cx="4378844" cy="29569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</a:pPr>
            <a:r>
              <a:rPr lang="en-US" sz="4800" dirty="0">
                <a:solidFill>
                  <a:schemeClr val="lt1"/>
                </a:solidFill>
                <a:latin typeface="Aptos Display"/>
              </a:rPr>
              <a:t>Thank you</a:t>
            </a:r>
            <a:br>
              <a:rPr lang="en-US" sz="4800" dirty="0">
                <a:solidFill>
                  <a:schemeClr val="lt1"/>
                </a:solidFill>
                <a:latin typeface="Aptos Display"/>
              </a:rPr>
            </a:br>
            <a:r>
              <a:rPr lang="en-US" sz="4800" dirty="0">
                <a:solidFill>
                  <a:schemeClr val="lt1"/>
                </a:solidFill>
                <a:latin typeface="Aptos Display"/>
              </a:rPr>
              <a:t>ESSI</a:t>
            </a:r>
            <a:br>
              <a:rPr lang="en-US" sz="4800" dirty="0">
                <a:latin typeface="Aptos Display"/>
              </a:rPr>
            </a:br>
            <a:r>
              <a:rPr lang="en-US" sz="4800" dirty="0">
                <a:solidFill>
                  <a:schemeClr val="lt1"/>
                </a:solidFill>
                <a:latin typeface="Aptos Display"/>
              </a:rPr>
              <a:t>Hospital Teams!</a:t>
            </a:r>
            <a:endParaRPr sz="4800" dirty="0">
              <a:solidFill>
                <a:schemeClr val="lt1"/>
              </a:solidFill>
              <a:latin typeface="Aptos Display"/>
            </a:endParaRPr>
          </a:p>
        </p:txBody>
      </p:sp>
      <p:sp>
        <p:nvSpPr>
          <p:cNvPr id="2336" name="Google Shape;2336;p4"/>
          <p:cNvSpPr txBox="1">
            <a:spLocks noGrp="1"/>
          </p:cNvSpPr>
          <p:nvPr>
            <p:ph type="sldNum" idx="12"/>
          </p:nvPr>
        </p:nvSpPr>
        <p:spPr>
          <a:xfrm>
            <a:off x="9650097" y="4624276"/>
            <a:ext cx="1554737" cy="20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672"/>
              <a:buNone/>
            </a:pPr>
            <a:fld id="{00000000-1234-1234-1234-123412341234}" type="slidenum">
              <a:rPr lang="en-US" sz="672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/>
          </a:p>
        </p:txBody>
      </p:sp>
      <p:sp>
        <p:nvSpPr>
          <p:cNvPr id="2337" name="Google Shape;2337;p4"/>
          <p:cNvSpPr txBox="1">
            <a:spLocks noGrp="1"/>
          </p:cNvSpPr>
          <p:nvPr>
            <p:ph type="ftr" idx="11"/>
          </p:nvPr>
        </p:nvSpPr>
        <p:spPr>
          <a:xfrm>
            <a:off x="4985886" y="4624276"/>
            <a:ext cx="2332106" cy="206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672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82EEB7F-2B5E-DF04-85C1-69DBADDC6121}"/>
              </a:ext>
            </a:extLst>
          </p:cNvPr>
          <p:cNvSpPr txBox="1"/>
          <p:nvPr/>
        </p:nvSpPr>
        <p:spPr>
          <a:xfrm>
            <a:off x="4899378" y="4538133"/>
            <a:ext cx="1665507" cy="440267"/>
          </a:xfrm>
          <a:prstGeom prst="rect">
            <a:avLst/>
          </a:prstGeom>
          <a:solidFill>
            <a:srgbClr val="F4F7FB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2340" name="Google Shape;2340;p4" descr="Shooting star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041" y="3689228"/>
            <a:ext cx="1383553" cy="1353672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A map of a country with red pins&#10;&#10;Description automatically generated">
            <a:extLst>
              <a:ext uri="{FF2B5EF4-FFF2-40B4-BE49-F238E27FC236}">
                <a16:creationId xmlns:a16="http://schemas.microsoft.com/office/drawing/2014/main" id="{702211B5-1154-5447-728D-DE7A24F0FA2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87"/>
          <a:stretch/>
        </p:blipFill>
        <p:spPr>
          <a:xfrm>
            <a:off x="4713478" y="10392"/>
            <a:ext cx="7474127" cy="6839549"/>
          </a:xfrm>
          <a:prstGeom prst="rect">
            <a:avLst/>
          </a:prstGeom>
        </p:spPr>
      </p:pic>
      <p:sp>
        <p:nvSpPr>
          <p:cNvPr id="5" name="Google Shape;2335;p4">
            <a:extLst>
              <a:ext uri="{FF2B5EF4-FFF2-40B4-BE49-F238E27FC236}">
                <a16:creationId xmlns:a16="http://schemas.microsoft.com/office/drawing/2014/main" id="{5C9AC119-D97D-FC14-267E-5A0A043B1D27}"/>
              </a:ext>
            </a:extLst>
          </p:cNvPr>
          <p:cNvSpPr txBox="1">
            <a:spLocks/>
          </p:cNvSpPr>
          <p:nvPr/>
        </p:nvSpPr>
        <p:spPr>
          <a:xfrm>
            <a:off x="1716102" y="3745147"/>
            <a:ext cx="2628713" cy="9702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775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chemeClr val="lt1"/>
              </a:buClr>
              <a:buSzPts val="4400"/>
            </a:pPr>
            <a:r>
              <a:rPr lang="en-US" sz="4400" dirty="0">
                <a:solidFill>
                  <a:schemeClr val="lt1"/>
                </a:solidFill>
                <a:latin typeface="Aptos Display"/>
              </a:rPr>
              <a:t>83 Hospitals</a:t>
            </a:r>
          </a:p>
        </p:txBody>
      </p:sp>
      <p:pic>
        <p:nvPicPr>
          <p:cNvPr id="6" name="Google Shape;2340;p4" descr="Shooting star with solid fill">
            <a:extLst>
              <a:ext uri="{FF2B5EF4-FFF2-40B4-BE49-F238E27FC236}">
                <a16:creationId xmlns:a16="http://schemas.microsoft.com/office/drawing/2014/main" id="{9C4ADB9A-D726-48DD-5D55-06AD17BF61AB}"/>
              </a:ext>
            </a:extLst>
          </p:cNvPr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2694" y="4856133"/>
            <a:ext cx="1383553" cy="135367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2335;p4">
            <a:extLst>
              <a:ext uri="{FF2B5EF4-FFF2-40B4-BE49-F238E27FC236}">
                <a16:creationId xmlns:a16="http://schemas.microsoft.com/office/drawing/2014/main" id="{B3B6B7F8-2549-B6AC-89A2-9F163CAFE061}"/>
              </a:ext>
            </a:extLst>
          </p:cNvPr>
          <p:cNvSpPr txBox="1">
            <a:spLocks/>
          </p:cNvSpPr>
          <p:nvPr/>
        </p:nvSpPr>
        <p:spPr>
          <a:xfrm>
            <a:off x="1692672" y="4937672"/>
            <a:ext cx="2795079" cy="857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70000" lnSpcReduction="2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400" dirty="0">
                <a:solidFill>
                  <a:schemeClr val="lt1"/>
                </a:solidFill>
                <a:latin typeface="Aptos Display"/>
              </a:rPr>
              <a:t>85 ESSI Teams</a:t>
            </a:r>
            <a:endParaRPr lang="en-US" dirty="0">
              <a:solidFill>
                <a:schemeClr val="lt1"/>
              </a:solidFill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25A4389-CCAA-3695-AD78-A054E3EB7C85}"/>
              </a:ext>
            </a:extLst>
          </p:cNvPr>
          <p:cNvSpPr/>
          <p:nvPr/>
        </p:nvSpPr>
        <p:spPr>
          <a:xfrm>
            <a:off x="6910294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58263" y="119865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TextBox 3"/>
          <p:cNvSpPr txBox="1"/>
          <p:nvPr/>
        </p:nvSpPr>
        <p:spPr>
          <a:xfrm>
            <a:off x="1136496" y="411531"/>
            <a:ext cx="10150100" cy="5469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4800"/>
              </a:lnSpc>
            </a:pPr>
            <a:r>
              <a:rPr lang="en-US" sz="2500" b="1" i="1">
                <a:solidFill>
                  <a:srgbClr val="813158"/>
                </a:solidFill>
                <a:latin typeface="Aptos Display"/>
              </a:rPr>
              <a:t>September: </a:t>
            </a:r>
            <a:r>
              <a:rPr lang="en-US" sz="2500" b="1">
                <a:solidFill>
                  <a:srgbClr val="813158"/>
                </a:solidFill>
                <a:latin typeface="Aptos Display"/>
              </a:rPr>
              <a:t>SDOH Screening and Linkage</a:t>
            </a:r>
            <a:endParaRPr lang="en-US"/>
          </a:p>
        </p:txBody>
      </p:sp>
      <p:sp>
        <p:nvSpPr>
          <p:cNvPr id="6" name="TextBox 6"/>
          <p:cNvSpPr txBox="1"/>
          <p:nvPr/>
        </p:nvSpPr>
        <p:spPr>
          <a:xfrm>
            <a:off x="1488837" y="6022938"/>
            <a:ext cx="10150100" cy="4492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680"/>
              </a:lnSpc>
            </a:pPr>
            <a:r>
              <a:rPr lang="en-US" sz="2000" b="1" dirty="0">
                <a:solidFill>
                  <a:srgbClr val="803158"/>
                </a:solidFill>
                <a:latin typeface="aptos displ"/>
                <a:ea typeface="+mn-lt"/>
                <a:cs typeface="+mn-lt"/>
              </a:rPr>
              <a:t>Hospital has a standardized process to screen for newborn inclusive Social Determinants of Health and to link to needed resources.</a:t>
            </a:r>
            <a:endParaRPr lang="en-US" sz="2000" b="1" dirty="0">
              <a:solidFill>
                <a:srgbClr val="803158"/>
              </a:solidFill>
              <a:latin typeface="aptos displ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72587918-2B52-E3D8-671C-5A0636525B0B}"/>
              </a:ext>
            </a:extLst>
          </p:cNvPr>
          <p:cNvSpPr/>
          <p:nvPr/>
        </p:nvSpPr>
        <p:spPr>
          <a:xfrm>
            <a:off x="364620" y="685801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pic>
        <p:nvPicPr>
          <p:cNvPr id="5" name="Picture 4" descr="A row of rectangular colored rectangles&#10;&#10;Description automatically generated">
            <a:extLst>
              <a:ext uri="{FF2B5EF4-FFF2-40B4-BE49-F238E27FC236}">
                <a16:creationId xmlns:a16="http://schemas.microsoft.com/office/drawing/2014/main" id="{BB03B99F-3095-CFA6-BBBF-E7F76F709A8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43930" y="967495"/>
            <a:ext cx="8325830" cy="5120963"/>
          </a:xfrm>
          <a:prstGeom prst="rect">
            <a:avLst/>
          </a:prstGeom>
        </p:spPr>
      </p:pic>
      <p:sp>
        <p:nvSpPr>
          <p:cNvPr id="14" name="Freeform 4">
            <a:extLst>
              <a:ext uri="{FF2B5EF4-FFF2-40B4-BE49-F238E27FC236}">
                <a16:creationId xmlns:a16="http://schemas.microsoft.com/office/drawing/2014/main" id="{1F3B8C76-7F40-EC15-F9E0-330093021BC3}"/>
              </a:ext>
            </a:extLst>
          </p:cNvPr>
          <p:cNvSpPr/>
          <p:nvPr/>
        </p:nvSpPr>
        <p:spPr>
          <a:xfrm>
            <a:off x="362488" y="2477341"/>
            <a:ext cx="1810085" cy="1899711"/>
          </a:xfrm>
          <a:custGeom>
            <a:avLst/>
            <a:gdLst/>
            <a:ahLst/>
            <a:cxnLst/>
            <a:rect l="l" t="t" r="r" b="b"/>
            <a:pathLst>
              <a:path w="4664950" h="4620095">
                <a:moveTo>
                  <a:pt x="0" y="0"/>
                </a:moveTo>
                <a:lnTo>
                  <a:pt x="4664950" y="0"/>
                </a:lnTo>
                <a:lnTo>
                  <a:pt x="4664950" y="4620094"/>
                </a:lnTo>
                <a:lnTo>
                  <a:pt x="0" y="4620094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2C6D94DB-F639-B05C-4A9E-B83AF5D35513}"/>
              </a:ext>
            </a:extLst>
          </p:cNvPr>
          <p:cNvSpPr txBox="1"/>
          <p:nvPr/>
        </p:nvSpPr>
        <p:spPr>
          <a:xfrm>
            <a:off x="9697417" y="2428820"/>
            <a:ext cx="2258010" cy="15388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lvl="1" indent="-215900" algn="l">
              <a:lnSpc>
                <a:spcPts val="2400"/>
              </a:lnSpc>
              <a:buFont typeface="Arial"/>
              <a:buChar char="•"/>
            </a:pPr>
            <a:r>
              <a:rPr lang="en-US" sz="2000" b="1" dirty="0">
                <a:solidFill>
                  <a:srgbClr val="813158"/>
                </a:solidFill>
                <a:latin typeface="Aptos"/>
              </a:rPr>
              <a:t>SDOH Evaluation, Linkage, and documentation in EMR System</a:t>
            </a:r>
          </a:p>
        </p:txBody>
      </p:sp>
    </p:spTree>
    <p:extLst>
      <p:ext uri="{BB962C8B-B14F-4D97-AF65-F5344CB8AC3E}">
        <p14:creationId xmlns:p14="http://schemas.microsoft.com/office/powerpoint/2010/main" val="306865632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D96B133-BC18-39DA-8FDD-6B828524493E}"/>
              </a:ext>
            </a:extLst>
          </p:cNvPr>
          <p:cNvSpPr/>
          <p:nvPr/>
        </p:nvSpPr>
        <p:spPr>
          <a:xfrm>
            <a:off x="6895352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77" t="12033" r="10787" b="-835"/>
          <a:stretch/>
        </p:blipFill>
        <p:spPr>
          <a:xfrm>
            <a:off x="679660" y="1712024"/>
            <a:ext cx="8436495" cy="5131801"/>
          </a:xfrm>
          <a:prstGeom prst="rect">
            <a:avLst/>
          </a:prstGeom>
        </p:spPr>
      </p:pic>
      <p:sp>
        <p:nvSpPr>
          <p:cNvPr id="4" name="Freeform 4"/>
          <p:cNvSpPr/>
          <p:nvPr/>
        </p:nvSpPr>
        <p:spPr>
          <a:xfrm>
            <a:off x="8675317" y="2365282"/>
            <a:ext cx="3109967" cy="3080063"/>
          </a:xfrm>
          <a:custGeom>
            <a:avLst/>
            <a:gdLst/>
            <a:ahLst/>
            <a:cxnLst/>
            <a:rect l="l" t="t" r="r" b="b"/>
            <a:pathLst>
              <a:path w="4664950" h="4620095">
                <a:moveTo>
                  <a:pt x="0" y="0"/>
                </a:moveTo>
                <a:lnTo>
                  <a:pt x="4664950" y="0"/>
                </a:lnTo>
                <a:lnTo>
                  <a:pt x="4664950" y="4620094"/>
                </a:lnTo>
                <a:lnTo>
                  <a:pt x="0" y="4620094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6" name="TextBox 6"/>
          <p:cNvSpPr txBox="1"/>
          <p:nvPr/>
        </p:nvSpPr>
        <p:spPr>
          <a:xfrm>
            <a:off x="8328366" y="963762"/>
            <a:ext cx="3803868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1800" lvl="1" indent="-215900" algn="l">
              <a:lnSpc>
                <a:spcPts val="2400"/>
              </a:lnSpc>
              <a:buFont typeface="Arial"/>
              <a:buChar char="•"/>
            </a:pPr>
            <a:r>
              <a:rPr lang="en-US" sz="2000" b="1">
                <a:solidFill>
                  <a:srgbClr val="813158"/>
                </a:solidFill>
                <a:latin typeface="Aptos"/>
              </a:rPr>
              <a:t>SDOH Evaluation, Linkage, and documentation in EMR System</a:t>
            </a:r>
          </a:p>
        </p:txBody>
      </p:sp>
      <p:sp>
        <p:nvSpPr>
          <p:cNvPr id="7" name="Freeform 7"/>
          <p:cNvSpPr/>
          <p:nvPr/>
        </p:nvSpPr>
        <p:spPr>
          <a:xfrm>
            <a:off x="364620" y="685801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8" name="TextBox 8"/>
          <p:cNvSpPr txBox="1"/>
          <p:nvPr/>
        </p:nvSpPr>
        <p:spPr>
          <a:xfrm rot="16200000">
            <a:off x="-1252390" y="3759263"/>
            <a:ext cx="3526120" cy="2921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320"/>
              </a:lnSpc>
            </a:pPr>
            <a:r>
              <a:rPr lang="en-US" sz="1933">
                <a:solidFill>
                  <a:srgbClr val="813158"/>
                </a:solidFill>
                <a:latin typeface="Etna Sans Serif"/>
              </a:rPr>
              <a:t>% Screened and Linked to Care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4129713" y="6172200"/>
            <a:ext cx="3045351" cy="2921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320"/>
              </a:lnSpc>
            </a:pPr>
            <a:r>
              <a:rPr lang="en-US" sz="1933">
                <a:solidFill>
                  <a:srgbClr val="813158"/>
                </a:solidFill>
                <a:latin typeface="Etna Sans Serif"/>
              </a:rPr>
              <a:t>Month</a:t>
            </a:r>
          </a:p>
        </p:txBody>
      </p:sp>
      <p:sp>
        <p:nvSpPr>
          <p:cNvPr id="13" name="TextBox 5">
            <a:extLst>
              <a:ext uri="{FF2B5EF4-FFF2-40B4-BE49-F238E27FC236}">
                <a16:creationId xmlns:a16="http://schemas.microsoft.com/office/drawing/2014/main" id="{A90CDCC6-5DB2-85A6-BF45-D6EEBD7F3287}"/>
              </a:ext>
            </a:extLst>
          </p:cNvPr>
          <p:cNvSpPr txBox="1"/>
          <p:nvPr/>
        </p:nvSpPr>
        <p:spPr>
          <a:xfrm>
            <a:off x="1021469" y="500574"/>
            <a:ext cx="10150100" cy="58952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4800"/>
              </a:lnSpc>
            </a:pPr>
            <a:r>
              <a:rPr lang="en-US" sz="3600" b="1">
                <a:solidFill>
                  <a:srgbClr val="813158"/>
                </a:solidFill>
                <a:latin typeface="Aptos"/>
              </a:rPr>
              <a:t>What’s Next?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E4BCDC9-F41F-C09A-7C14-028899D397E2}"/>
              </a:ext>
            </a:extLst>
          </p:cNvPr>
          <p:cNvSpPr/>
          <p:nvPr/>
        </p:nvSpPr>
        <p:spPr>
          <a:xfrm>
            <a:off x="6698074" y="1843852"/>
            <a:ext cx="696148" cy="413925"/>
          </a:xfrm>
          <a:prstGeom prst="rect">
            <a:avLst/>
          </a:prstGeom>
          <a:solidFill>
            <a:srgbClr val="F2F9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77361C6-D61B-01FB-26AC-2991111038D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83263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 descr="A red and gold award&#10;&#10;Description automatically generated">
            <a:extLst>
              <a:ext uri="{FF2B5EF4-FFF2-40B4-BE49-F238E27FC236}">
                <a16:creationId xmlns:a16="http://schemas.microsoft.com/office/drawing/2014/main" id="{339D71BE-E7F5-F105-FA7C-4A411247B87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3" y="1056"/>
            <a:ext cx="12191980" cy="685671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987C60-A2E5-2A44-6A6F-243C1041EDBD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lvl="0" indent="0">
              <a:spcBef>
                <a:spcPts val="0"/>
              </a:spcBef>
              <a:spcAft>
                <a:spcPts val="600"/>
              </a:spcAft>
              <a:buNone/>
            </a:pPr>
            <a:fld id="{00000000-1234-1234-1234-123412341234}" type="slidenum">
              <a:rPr lang="en-US" kern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lvl="0" indent="0">
                <a:spcBef>
                  <a:spcPts val="0"/>
                </a:spcBef>
                <a:spcAft>
                  <a:spcPts val="600"/>
                </a:spcAft>
                <a:buNone/>
              </a:pPr>
              <a:t>42</a:t>
            </a:fld>
            <a:endParaRPr lang="en-US" kern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 descr="A qr code on a screen&#10;&#10;Description automatically generated">
            <a:extLst>
              <a:ext uri="{FF2B5EF4-FFF2-40B4-BE49-F238E27FC236}">
                <a16:creationId xmlns:a16="http://schemas.microsoft.com/office/drawing/2014/main" id="{D1D485DA-5D8C-12BC-644C-C42D2BD5A6D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741" y="2625527"/>
            <a:ext cx="2441340" cy="2488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84965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293F8865-FBFF-932F-615B-841EE3E122BD}"/>
              </a:ext>
            </a:extLst>
          </p:cNvPr>
          <p:cNvSpPr/>
          <p:nvPr/>
        </p:nvSpPr>
        <p:spPr>
          <a:xfrm>
            <a:off x="6134485" y="0"/>
            <a:ext cx="6057514" cy="20012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50E6DC-BCB6-7021-74E4-A553695C7B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94" y="641713"/>
            <a:ext cx="3939688" cy="5583126"/>
          </a:xfrm>
        </p:spPr>
        <p:txBody>
          <a:bodyPr>
            <a:normAutofit/>
          </a:bodyPr>
          <a:lstStyle/>
          <a:p>
            <a:pPr algn="r"/>
            <a:r>
              <a:rPr lang="en-US" sz="8000">
                <a:solidFill>
                  <a:srgbClr val="1C498B"/>
                </a:solidFill>
                <a:latin typeface="Aptos"/>
                <a:ea typeface="Lato Medium"/>
                <a:cs typeface="Prompt"/>
              </a:rPr>
              <a:t>ESSI Launch Award Criteria</a:t>
            </a:r>
            <a:endParaRPr lang="en-US" sz="8000">
              <a:solidFill>
                <a:srgbClr val="1C498B"/>
              </a:solidFill>
              <a:latin typeface="Aptos"/>
              <a:cs typeface="Prompt"/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6C0E3B9-AD38-3062-92BA-93FBC89260B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852206"/>
              </p:ext>
            </p:extLst>
          </p:nvPr>
        </p:nvGraphicFramePr>
        <p:xfrm>
          <a:off x="5226904" y="512583"/>
          <a:ext cx="6245265" cy="5589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527840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1" name="Google Shape;2661;p33"/>
          <p:cNvSpPr txBox="1">
            <a:spLocks noGrp="1"/>
          </p:cNvSpPr>
          <p:nvPr>
            <p:ph type="title"/>
          </p:nvPr>
        </p:nvSpPr>
        <p:spPr>
          <a:xfrm>
            <a:off x="405968" y="1350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>
              <a:buSzPts val="3600"/>
            </a:pPr>
            <a:r>
              <a:rPr lang="en-US">
                <a:latin typeface="Aptos"/>
              </a:rPr>
              <a:t>ESSI Launch Award Hospitals</a:t>
            </a:r>
          </a:p>
        </p:txBody>
      </p:sp>
      <p:sp>
        <p:nvSpPr>
          <p:cNvPr id="2662" name="Google Shape;2662;p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44</a:t>
            </a:fld>
            <a:endParaRPr/>
          </a:p>
        </p:txBody>
      </p:sp>
      <p:sp>
        <p:nvSpPr>
          <p:cNvPr id="2663" name="Google Shape;2663;p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D1899C-C947-5123-59B4-A22B320A6DC6}"/>
              </a:ext>
            </a:extLst>
          </p:cNvPr>
          <p:cNvSpPr txBox="1"/>
          <p:nvPr/>
        </p:nvSpPr>
        <p:spPr>
          <a:xfrm>
            <a:off x="7087339" y="-7398"/>
            <a:ext cx="5104660" cy="2507941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pic>
        <p:nvPicPr>
          <p:cNvPr id="6" name="Picture 5" descr="A yellow and red film strip&#10;&#10;Description automatically generated">
            <a:extLst>
              <a:ext uri="{FF2B5EF4-FFF2-40B4-BE49-F238E27FC236}">
                <a16:creationId xmlns:a16="http://schemas.microsoft.com/office/drawing/2014/main" id="{F7DA4B70-61E1-5110-82BA-F983BC58EE8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3294" y="78441"/>
            <a:ext cx="12655175" cy="6282764"/>
          </a:xfrm>
          <a:prstGeom prst="rect">
            <a:avLst/>
          </a:prstGeom>
          <a:ln>
            <a:noFill/>
          </a:ln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698F826-9EBA-617E-8C24-E237E2C9AA42}"/>
              </a:ext>
            </a:extLst>
          </p:cNvPr>
          <p:cNvSpPr>
            <a:spLocks noGrp="1"/>
          </p:cNvSpPr>
          <p:nvPr/>
        </p:nvSpPr>
        <p:spPr>
          <a:xfrm>
            <a:off x="210104" y="1322556"/>
            <a:ext cx="3190044" cy="4314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1400" b="1">
                <a:solidFill>
                  <a:schemeClr val="accent1"/>
                </a:solidFill>
                <a:latin typeface="Aptos Display"/>
                <a:cs typeface="Times New Roman"/>
              </a:rPr>
              <a:t>Advocate Aurora Sherman Hospital </a:t>
            </a:r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dvocate Children's - Oak Lawn  </a:t>
            </a:r>
            <a:endParaRPr lang="en-US" sz="1400" b="1">
              <a:solidFill>
                <a:schemeClr val="accent1"/>
              </a:solidFill>
              <a:latin typeface="Aptos Display"/>
              <a:cs typeface="Times New Roman"/>
            </a:endParaRP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dvocate Christ Medical Center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dvocate Condell Medical Center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dvocate Good Samaritan Hospital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dvocate Good Shepherd Hospital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dvocate Illinois Masonic Medical Center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dvocate Lutheran General Hospital/Advocate Childrens Park Ridg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553DEA8-4587-695B-8096-85F7215377C3}"/>
              </a:ext>
            </a:extLst>
          </p:cNvPr>
          <p:cNvSpPr>
            <a:spLocks noGrp="1"/>
          </p:cNvSpPr>
          <p:nvPr/>
        </p:nvSpPr>
        <p:spPr>
          <a:xfrm>
            <a:off x="4297176" y="1322554"/>
            <a:ext cx="3190044" cy="4314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lton Memorial Hospital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nderson Hospital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nn &amp; Robert H. Lurie Children's Hospital of Chicago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scension Alexian Brothers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scension Health St. Joseph Hospital in Chicago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scension Mercy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Ascension Saint Alexius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Barnes-Jewish Hospital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Blessing Hospital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Carle Foundation Hospital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Crawford Memorial Hospital</a:t>
            </a: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F2490A-9A04-1282-8712-4C07676C4368}"/>
              </a:ext>
            </a:extLst>
          </p:cNvPr>
          <p:cNvSpPr>
            <a:spLocks noGrp="1"/>
          </p:cNvSpPr>
          <p:nvPr/>
        </p:nvSpPr>
        <p:spPr>
          <a:xfrm>
            <a:off x="8399449" y="1322554"/>
            <a:ext cx="3190044" cy="4314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Edward Hospital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Elmhurst Memorial Hospital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Endeavor Health Evanston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Endeavor Health Highland Park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Endeavor Health Swedish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FHN Memorial Hospital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Gibson Area Hospital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HSHS St. Elizabeth's Hospital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HSHS St. John's Hospital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Ingalls Memorial Hospital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Loyola University Medical Center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MacNeal Hospital 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Memorial Hospital East  </a:t>
            </a:r>
            <a:endParaRPr lang="en-US">
              <a:solidFill>
                <a:schemeClr val="accent1"/>
              </a:solidFill>
            </a:endParaRP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Memorial Hospital of Carbondale</a:t>
            </a: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1" name="Google Shape;2661;p33"/>
          <p:cNvSpPr txBox="1">
            <a:spLocks noGrp="1"/>
          </p:cNvSpPr>
          <p:nvPr>
            <p:ph type="title"/>
          </p:nvPr>
        </p:nvSpPr>
        <p:spPr>
          <a:xfrm>
            <a:off x="603580" y="1350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>
              <a:buSzPts val="3600"/>
            </a:pPr>
            <a:r>
              <a:rPr lang="en-US">
                <a:latin typeface="Aptos"/>
              </a:rPr>
              <a:t>ESSI Launch Award Hospitals</a:t>
            </a:r>
          </a:p>
        </p:txBody>
      </p:sp>
      <p:sp>
        <p:nvSpPr>
          <p:cNvPr id="2662" name="Google Shape;2662;p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45</a:t>
            </a:fld>
            <a:endParaRPr/>
          </a:p>
        </p:txBody>
      </p:sp>
      <p:sp>
        <p:nvSpPr>
          <p:cNvPr id="2663" name="Google Shape;2663;p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D1899C-C947-5123-59B4-A22B320A6DC6}"/>
              </a:ext>
            </a:extLst>
          </p:cNvPr>
          <p:cNvSpPr txBox="1"/>
          <p:nvPr/>
        </p:nvSpPr>
        <p:spPr>
          <a:xfrm>
            <a:off x="7087339" y="-7398"/>
            <a:ext cx="5104660" cy="2507941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pic>
        <p:nvPicPr>
          <p:cNvPr id="4" name="Picture 3" descr="A yellow and red film strip&#10;&#10;Description automatically generated">
            <a:extLst>
              <a:ext uri="{FF2B5EF4-FFF2-40B4-BE49-F238E27FC236}">
                <a16:creationId xmlns:a16="http://schemas.microsoft.com/office/drawing/2014/main" id="{4C596A33-47B7-F5DF-9937-CB4C299C949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alphaModFix amt="1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3294" y="78441"/>
            <a:ext cx="12655175" cy="6282764"/>
          </a:xfrm>
          <a:prstGeom prst="rect">
            <a:avLst/>
          </a:prstGeom>
          <a:ln>
            <a:noFill/>
          </a:ln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70CC5FE-C162-51AF-AA23-7BA442E5391E}"/>
              </a:ext>
            </a:extLst>
          </p:cNvPr>
          <p:cNvSpPr>
            <a:spLocks noGrp="1"/>
          </p:cNvSpPr>
          <p:nvPr/>
        </p:nvSpPr>
        <p:spPr>
          <a:xfrm>
            <a:off x="367850" y="1061083"/>
            <a:ext cx="3190044" cy="4314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Mount Sinai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NM Central DuPage Hospital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NM </a:t>
            </a:r>
            <a:r>
              <a:rPr lang="en-US" sz="1400" b="1" err="1">
                <a:solidFill>
                  <a:schemeClr val="accent1"/>
                </a:solidFill>
                <a:latin typeface="Aptos Display"/>
              </a:rPr>
              <a:t>Delnor</a:t>
            </a:r>
            <a:r>
              <a:rPr lang="en-US" sz="1400" b="1">
                <a:solidFill>
                  <a:schemeClr val="accent1"/>
                </a:solidFill>
                <a:latin typeface="Aptos Display"/>
              </a:rPr>
              <a:t> Hospital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NM Huntley Hospital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NM Kishwaukee Hospital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NM Palos Hospital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Northwestern Memorial Hospital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Northwest Community Hospital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OSF Little Company of Mary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OSF St. Anthony Medical Center- Rockford </a:t>
            </a:r>
            <a:endParaRPr lang="en-US">
              <a:solidFill>
                <a:schemeClr val="accent1"/>
              </a:solidFill>
            </a:endParaRP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OSF St. Francis Medical Center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OSF St. Joseph Medical Center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OSF St. Mary Medical Center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Riverside Medical Center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Rush University Medical Center</a:t>
            </a:r>
            <a:endParaRPr lang="en-US">
              <a:solidFill>
                <a:schemeClr val="accent1"/>
              </a:solidFill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98EF680-9F8D-663A-2998-132B1F6EC9F5}"/>
              </a:ext>
            </a:extLst>
          </p:cNvPr>
          <p:cNvSpPr>
            <a:spLocks noGrp="1"/>
          </p:cNvSpPr>
          <p:nvPr/>
        </p:nvSpPr>
        <p:spPr>
          <a:xfrm>
            <a:off x="4068963" y="1061083"/>
            <a:ext cx="3190044" cy="43143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Rush-Copley Medical Center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Sarah Bush Lincoln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Silver Cross Hospital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Springfield Memorial Hospital  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SSM Cardinal Glennon Children's Hospital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SSM Health Good Samaritan 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SSM Health St. Mary's Hospital – St. Louis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UI Health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UnityPoint Health Trinity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University of Chicago Medical Center </a:t>
            </a:r>
          </a:p>
          <a:p>
            <a:r>
              <a:rPr lang="en-US" sz="1400" b="1">
                <a:solidFill>
                  <a:schemeClr val="accent1"/>
                </a:solidFill>
                <a:latin typeface="Aptos Display"/>
              </a:rPr>
              <a:t>UWNI SwedishAmerican Hospital</a:t>
            </a:r>
          </a:p>
          <a:p>
            <a:endParaRPr lang="en-US" sz="1100">
              <a:solidFill>
                <a:srgbClr val="000000"/>
              </a:solidFill>
            </a:endParaRPr>
          </a:p>
          <a:p>
            <a:endParaRPr lang="en-US" sz="1100">
              <a:solidFill>
                <a:srgbClr val="000000"/>
              </a:solidFill>
            </a:endParaRPr>
          </a:p>
          <a:p>
            <a:endParaRPr lang="en-US" sz="1100">
              <a:solidFill>
                <a:srgbClr val="000000"/>
              </a:solidFill>
            </a:endParaRPr>
          </a:p>
          <a:p>
            <a:endParaRPr lang="en-US" sz="1100">
              <a:solidFill>
                <a:srgbClr val="000000"/>
              </a:solidFill>
            </a:endParaRPr>
          </a:p>
          <a:p>
            <a:endParaRPr lang="en-US" sz="1100">
              <a:solidFill>
                <a:srgbClr val="000000"/>
              </a:solidFill>
            </a:endParaRPr>
          </a:p>
          <a:p>
            <a:endParaRPr lang="en-US" sz="1100">
              <a:solidFill>
                <a:srgbClr val="000000"/>
              </a:solidFill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  <a:p>
            <a:endParaRPr lang="en-US" sz="1400" b="1">
              <a:solidFill>
                <a:schemeClr val="accent1"/>
              </a:solidFill>
              <a:latin typeface="Aptos Display"/>
            </a:endParaRPr>
          </a:p>
        </p:txBody>
      </p:sp>
    </p:spTree>
    <p:extLst>
      <p:ext uri="{BB962C8B-B14F-4D97-AF65-F5344CB8AC3E}">
        <p14:creationId xmlns:p14="http://schemas.microsoft.com/office/powerpoint/2010/main" val="171929564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Picture 4" descr="A sign with lights on it&#10;&#10;Description automatically generated">
            <a:extLst>
              <a:ext uri="{FF2B5EF4-FFF2-40B4-BE49-F238E27FC236}">
                <a16:creationId xmlns:a16="http://schemas.microsoft.com/office/drawing/2014/main" id="{FC54BA74-9144-FFF0-7DF7-64767CB7EC1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8039E4-D02D-6E33-4E90-51355F5F408D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lvl="0" indent="0">
              <a:spcBef>
                <a:spcPts val="0"/>
              </a:spcBef>
              <a:spcAft>
                <a:spcPts val="600"/>
              </a:spcAft>
              <a:buNone/>
            </a:pPr>
            <a:fld id="{00000000-1234-1234-1234-123412341234}" type="slidenum">
              <a:rPr lang="en-US" kern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pPr lvl="0" indent="0">
                <a:spcBef>
                  <a:spcPts val="0"/>
                </a:spcBef>
                <a:spcAft>
                  <a:spcPts val="600"/>
                </a:spcAft>
                <a:buNone/>
              </a:pPr>
              <a:t>46</a:t>
            </a:fld>
            <a:endParaRPr lang="en-US" kern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605295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2010;p1">
            <a:extLst>
              <a:ext uri="{FF2B5EF4-FFF2-40B4-BE49-F238E27FC236}">
                <a16:creationId xmlns:a16="http://schemas.microsoft.com/office/drawing/2014/main" id="{F9C255AE-9681-0C74-B0CD-B254195F0539}"/>
              </a:ext>
            </a:extLst>
          </p:cNvPr>
          <p:cNvSpPr txBox="1">
            <a:spLocks/>
          </p:cNvSpPr>
          <p:nvPr/>
        </p:nvSpPr>
        <p:spPr>
          <a:xfrm>
            <a:off x="1245647" y="4825295"/>
            <a:ext cx="9698773" cy="857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3600">
                <a:solidFill>
                  <a:schemeClr val="accent1"/>
                </a:solidFill>
                <a:latin typeface="Aptos"/>
              </a:rPr>
              <a:t>Addressing Social Determinants of Health in the NICU </a:t>
            </a:r>
          </a:p>
        </p:txBody>
      </p:sp>
      <p:sp>
        <p:nvSpPr>
          <p:cNvPr id="15" name="Google Shape;2010;p1">
            <a:extLst>
              <a:ext uri="{FF2B5EF4-FFF2-40B4-BE49-F238E27FC236}">
                <a16:creationId xmlns:a16="http://schemas.microsoft.com/office/drawing/2014/main" id="{83DF42C4-B416-A4D0-CA80-36371485952B}"/>
              </a:ext>
            </a:extLst>
          </p:cNvPr>
          <p:cNvSpPr txBox="1">
            <a:spLocks/>
          </p:cNvSpPr>
          <p:nvPr/>
        </p:nvSpPr>
        <p:spPr>
          <a:xfrm>
            <a:off x="1245647" y="5467765"/>
            <a:ext cx="9698773" cy="857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3600">
                <a:solidFill>
                  <a:schemeClr val="accent1"/>
                </a:solidFill>
                <a:latin typeface="Aptos"/>
              </a:rPr>
              <a:t>Meg Parker, MD, MPH</a:t>
            </a:r>
            <a:endParaRPr lang="en-US">
              <a:solidFill>
                <a:schemeClr val="accent1"/>
              </a:solidFill>
            </a:endParaRPr>
          </a:p>
        </p:txBody>
      </p:sp>
      <p:pic>
        <p:nvPicPr>
          <p:cNvPr id="2" name="Picture 1" descr="A person smiling for a picture&#10;&#10;Description automatically generated">
            <a:extLst>
              <a:ext uri="{FF2B5EF4-FFF2-40B4-BE49-F238E27FC236}">
                <a16:creationId xmlns:a16="http://schemas.microsoft.com/office/drawing/2014/main" id="{2EBF1653-5558-981E-6397-C70064CE4FE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0586" y="759012"/>
            <a:ext cx="3770830" cy="3644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234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1628790" y="-189057"/>
            <a:ext cx="9531829" cy="1334873"/>
          </a:xfrm>
        </p:spPr>
        <p:txBody>
          <a:bodyPr/>
          <a:lstStyle/>
          <a:p>
            <a:pPr algn="ctr"/>
            <a:r>
              <a:rPr lang="en-US" sz="4800" dirty="0">
                <a:latin typeface="Aptos"/>
                <a:ea typeface="Lato Medium"/>
                <a:cs typeface="Lato Medium"/>
              </a:rPr>
              <a:t>ESSI Initiative Aims</a:t>
            </a:r>
            <a:endParaRPr lang="en-US" sz="4800" dirty="0">
              <a:latin typeface="Aptos"/>
            </a:endParaRPr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A28016B6-6D80-89E3-91AF-D930E421AD61}"/>
              </a:ext>
            </a:extLst>
          </p:cNvPr>
          <p:cNvGrpSpPr/>
          <p:nvPr/>
        </p:nvGrpSpPr>
        <p:grpSpPr>
          <a:xfrm>
            <a:off x="608847" y="787285"/>
            <a:ext cx="11250165" cy="1346928"/>
            <a:chOff x="0" y="-57150"/>
            <a:chExt cx="2879117" cy="69769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966BE466-0331-E647-C2F5-1581C924B039}"/>
                </a:ext>
              </a:extLst>
            </p:cNvPr>
            <p:cNvSpPr/>
            <p:nvPr/>
          </p:nvSpPr>
          <p:spPr>
            <a:xfrm>
              <a:off x="0" y="0"/>
              <a:ext cx="2879117" cy="640540"/>
            </a:xfrm>
            <a:custGeom>
              <a:avLst/>
              <a:gdLst/>
              <a:ahLst/>
              <a:cxnLst/>
              <a:rect l="l" t="t" r="r" b="b"/>
              <a:pathLst>
                <a:path w="2879117" h="640540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604421"/>
                  </a:lnTo>
                  <a:cubicBezTo>
                    <a:pt x="2879117" y="614001"/>
                    <a:pt x="2875312" y="623188"/>
                    <a:pt x="2868538" y="629961"/>
                  </a:cubicBezTo>
                  <a:cubicBezTo>
                    <a:pt x="2861764" y="636735"/>
                    <a:pt x="2852578" y="640540"/>
                    <a:pt x="2842998" y="640540"/>
                  </a:cubicBezTo>
                  <a:lnTo>
                    <a:pt x="36119" y="640540"/>
                  </a:lnTo>
                  <a:cubicBezTo>
                    <a:pt x="26539" y="640540"/>
                    <a:pt x="17353" y="636735"/>
                    <a:pt x="10579" y="629961"/>
                  </a:cubicBezTo>
                  <a:cubicBezTo>
                    <a:pt x="3805" y="623188"/>
                    <a:pt x="0" y="614001"/>
                    <a:pt x="0" y="604421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604E516-649C-1FD9-2519-CEA85AA2096B}"/>
                </a:ext>
              </a:extLst>
            </p:cNvPr>
            <p:cNvSpPr txBox="1"/>
            <p:nvPr/>
          </p:nvSpPr>
          <p:spPr>
            <a:xfrm>
              <a:off x="0" y="-57150"/>
              <a:ext cx="2879117" cy="69769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6" name="Group 6">
            <a:extLst>
              <a:ext uri="{FF2B5EF4-FFF2-40B4-BE49-F238E27FC236}">
                <a16:creationId xmlns:a16="http://schemas.microsoft.com/office/drawing/2014/main" id="{80963B6F-3E16-814E-7593-2BE3F5176BAA}"/>
              </a:ext>
            </a:extLst>
          </p:cNvPr>
          <p:cNvGrpSpPr/>
          <p:nvPr/>
        </p:nvGrpSpPr>
        <p:grpSpPr>
          <a:xfrm>
            <a:off x="608847" y="2215964"/>
            <a:ext cx="11288265" cy="1272328"/>
            <a:chOff x="0" y="-57150"/>
            <a:chExt cx="2879117" cy="547803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080C1E4-8D81-DC7D-733F-543A19CACC97}"/>
                </a:ext>
              </a:extLst>
            </p:cNvPr>
            <p:cNvSpPr/>
            <p:nvPr/>
          </p:nvSpPr>
          <p:spPr>
            <a:xfrm>
              <a:off x="0" y="0"/>
              <a:ext cx="2879117" cy="490653"/>
            </a:xfrm>
            <a:custGeom>
              <a:avLst/>
              <a:gdLst/>
              <a:ahLst/>
              <a:cxnLst/>
              <a:rect l="l" t="t" r="r" b="b"/>
              <a:pathLst>
                <a:path w="2879117" h="490653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454535"/>
                  </a:lnTo>
                  <a:cubicBezTo>
                    <a:pt x="2879117" y="464114"/>
                    <a:pt x="2875312" y="473301"/>
                    <a:pt x="2868538" y="480074"/>
                  </a:cubicBezTo>
                  <a:cubicBezTo>
                    <a:pt x="2861764" y="486848"/>
                    <a:pt x="2852578" y="490653"/>
                    <a:pt x="2842998" y="490653"/>
                  </a:cubicBezTo>
                  <a:lnTo>
                    <a:pt x="36119" y="490653"/>
                  </a:lnTo>
                  <a:cubicBezTo>
                    <a:pt x="26539" y="490653"/>
                    <a:pt x="17353" y="486848"/>
                    <a:pt x="10579" y="480074"/>
                  </a:cubicBezTo>
                  <a:cubicBezTo>
                    <a:pt x="3805" y="473301"/>
                    <a:pt x="0" y="464114"/>
                    <a:pt x="0" y="454535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41866C53-10BB-5C7A-FBB8-8B559FBF4543}"/>
                </a:ext>
              </a:extLst>
            </p:cNvPr>
            <p:cNvSpPr txBox="1"/>
            <p:nvPr/>
          </p:nvSpPr>
          <p:spPr>
            <a:xfrm>
              <a:off x="0" y="-57150"/>
              <a:ext cx="2879117" cy="547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57B897C2-5645-67EB-E870-DDA8EEAA309C}"/>
              </a:ext>
            </a:extLst>
          </p:cNvPr>
          <p:cNvGrpSpPr/>
          <p:nvPr/>
        </p:nvGrpSpPr>
        <p:grpSpPr>
          <a:xfrm>
            <a:off x="91329" y="1152079"/>
            <a:ext cx="812800" cy="825500"/>
            <a:chOff x="0" y="0"/>
            <a:chExt cx="812800" cy="81280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87BADC8-1879-2359-C52E-E819876B32F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1">
              <a:extLst>
                <a:ext uri="{FF2B5EF4-FFF2-40B4-BE49-F238E27FC236}">
                  <a16:creationId xmlns:a16="http://schemas.microsoft.com/office/drawing/2014/main" id="{AF32047E-EB6B-BD4B-76DD-7D47B980544C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26" name="TextBox 15">
            <a:extLst>
              <a:ext uri="{FF2B5EF4-FFF2-40B4-BE49-F238E27FC236}">
                <a16:creationId xmlns:a16="http://schemas.microsoft.com/office/drawing/2014/main" id="{E9780070-BCB0-A4DC-93F5-6A72106D04EE}"/>
              </a:ext>
            </a:extLst>
          </p:cNvPr>
          <p:cNvSpPr txBox="1"/>
          <p:nvPr/>
        </p:nvSpPr>
        <p:spPr>
          <a:xfrm>
            <a:off x="992051" y="1158360"/>
            <a:ext cx="10796527" cy="951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Aptos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  <a:p>
            <a:pPr>
              <a:lnSpc>
                <a:spcPts val="2167"/>
              </a:lnSpc>
            </a:pPr>
            <a:endParaRPr lang="en-US" sz="2000">
              <a:solidFill>
                <a:srgbClr val="FFFFFF"/>
              </a:solidFill>
              <a:latin typeface="Apto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Aptos"/>
              </a:rPr>
              <a:t>By December 2025, greater than 80% of infants will be discharged from ILPQC hospitals with a completed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886026" y="4618936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387344" y="4808167"/>
            <a:ext cx="2028316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893425" y="5385726"/>
            <a:ext cx="3150228" cy="62762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836786" y="5577580"/>
            <a:ext cx="3206735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888227" y="3819390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9869AD74-D8A3-0B44-10F4-685B412FCB24}"/>
              </a:ext>
            </a:extLst>
          </p:cNvPr>
          <p:cNvSpPr txBox="1"/>
          <p:nvPr/>
        </p:nvSpPr>
        <p:spPr>
          <a:xfrm>
            <a:off x="298855" y="947398"/>
            <a:ext cx="410448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488052" y="4008485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312052" y="3863840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Aptos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311686" y="4691360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Aptos"/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latin typeface="Aptos"/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latin typeface="Aptos"/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  <a:latin typeface="Aptos"/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314936" y="5564972"/>
            <a:ext cx="7457964" cy="292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Aptos"/>
                <a:ea typeface="Calibri"/>
                <a:cs typeface="Calibri"/>
              </a:rPr>
              <a:t>Communication to primary care provider completed.</a:t>
            </a:r>
            <a:endParaRPr lang="en-US" sz="2200">
              <a:latin typeface="Aptos"/>
              <a:cs typeface="Calibri"/>
            </a:endParaRP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59DCCF77-1BDF-BB49-8752-58A43F365FAC}"/>
              </a:ext>
            </a:extLst>
          </p:cNvPr>
          <p:cNvGrpSpPr/>
          <p:nvPr/>
        </p:nvGrpSpPr>
        <p:grpSpPr>
          <a:xfrm>
            <a:off x="91329" y="2498278"/>
            <a:ext cx="812800" cy="825500"/>
            <a:chOff x="0" y="0"/>
            <a:chExt cx="812800" cy="812800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E15AE669-9885-B6BE-D637-60B38E0F95F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2EC913AF-9BAA-D267-4DAB-C2EAAC071B91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42" name="TextBox 23">
            <a:extLst>
              <a:ext uri="{FF2B5EF4-FFF2-40B4-BE49-F238E27FC236}">
                <a16:creationId xmlns:a16="http://schemas.microsoft.com/office/drawing/2014/main" id="{FB430A34-582F-067B-AEF5-DB4764FC6C5A}"/>
              </a:ext>
            </a:extLst>
          </p:cNvPr>
          <p:cNvSpPr txBox="1"/>
          <p:nvPr/>
        </p:nvSpPr>
        <p:spPr>
          <a:xfrm>
            <a:off x="290166" y="2295809"/>
            <a:ext cx="434023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2</a:t>
            </a: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756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94F61FFD-77D8-D116-11D5-242182167689}"/>
              </a:ext>
            </a:extLst>
          </p:cNvPr>
          <p:cNvSpPr/>
          <p:nvPr/>
        </p:nvSpPr>
        <p:spPr>
          <a:xfrm>
            <a:off x="6988968" y="-4762"/>
            <a:ext cx="5200650" cy="1933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1845693" y="484263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1845693" y="1550509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1845693" y="261675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1845693" y="371997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1845693" y="4786220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4269331" y="1475298"/>
            <a:ext cx="1176995" cy="835667"/>
          </a:xfrm>
          <a:custGeom>
            <a:avLst/>
            <a:gdLst/>
            <a:ahLst/>
            <a:cxnLst/>
            <a:rect l="l" t="t" r="r" b="b"/>
            <a:pathLst>
              <a:path w="1765493" h="1253500">
                <a:moveTo>
                  <a:pt x="0" y="0"/>
                </a:moveTo>
                <a:lnTo>
                  <a:pt x="1765493" y="0"/>
                </a:lnTo>
                <a:lnTo>
                  <a:pt x="1765493" y="1253500"/>
                </a:lnTo>
                <a:lnTo>
                  <a:pt x="0" y="12535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4435542" y="337989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7" y="0"/>
                </a:lnTo>
                <a:lnTo>
                  <a:pt x="1266857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>
            <a:off x="4359071" y="2554817"/>
            <a:ext cx="997512" cy="874183"/>
          </a:xfrm>
          <a:custGeom>
            <a:avLst/>
            <a:gdLst/>
            <a:ahLst/>
            <a:cxnLst/>
            <a:rect l="l" t="t" r="r" b="b"/>
            <a:pathLst>
              <a:path w="1496268" h="1311275">
                <a:moveTo>
                  <a:pt x="0" y="0"/>
                </a:moveTo>
                <a:lnTo>
                  <a:pt x="1496269" y="0"/>
                </a:lnTo>
                <a:lnTo>
                  <a:pt x="1496269" y="1311275"/>
                </a:lnTo>
                <a:lnTo>
                  <a:pt x="0" y="131127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>
            <a:off x="4335393" y="3532928"/>
            <a:ext cx="1021191" cy="1080626"/>
          </a:xfrm>
          <a:custGeom>
            <a:avLst/>
            <a:gdLst/>
            <a:ahLst/>
            <a:cxnLst/>
            <a:rect l="l" t="t" r="r" b="b"/>
            <a:pathLst>
              <a:path w="1531787" h="1620939">
                <a:moveTo>
                  <a:pt x="0" y="0"/>
                </a:moveTo>
                <a:lnTo>
                  <a:pt x="1531787" y="0"/>
                </a:lnTo>
                <a:lnTo>
                  <a:pt x="1531787" y="1620939"/>
                </a:lnTo>
                <a:lnTo>
                  <a:pt x="0" y="1620939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4437945" y="4715153"/>
            <a:ext cx="1008380" cy="1016000"/>
          </a:xfrm>
          <a:custGeom>
            <a:avLst/>
            <a:gdLst/>
            <a:ahLst/>
            <a:cxnLst/>
            <a:rect l="l" t="t" r="r" b="b"/>
            <a:pathLst>
              <a:path w="1512570" h="1524000">
                <a:moveTo>
                  <a:pt x="0" y="0"/>
                </a:moveTo>
                <a:lnTo>
                  <a:pt x="1512570" y="0"/>
                </a:lnTo>
                <a:lnTo>
                  <a:pt x="1512570" y="1524000"/>
                </a:lnTo>
                <a:lnTo>
                  <a:pt x="0" y="1524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TextBox 12"/>
          <p:cNvSpPr txBox="1"/>
          <p:nvPr/>
        </p:nvSpPr>
        <p:spPr>
          <a:xfrm>
            <a:off x="2074739" y="646616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1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2074739" y="1684639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2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074739" y="275088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3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096000" y="711200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Healthcare Professional Commitment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6096000" y="1727818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Inclusive Clinical Environment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6096000" y="2825179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Parents and Caregiver Empowermen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2074739" y="385410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4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2074739" y="4957670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5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6096000" y="5000849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Healthcare Data Utilizatio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096000" y="3903413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Community Partnerships</a:t>
            </a:r>
          </a:p>
        </p:txBody>
      </p:sp>
      <p:pic>
        <p:nvPicPr>
          <p:cNvPr id="24" name="Picture 23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B2CB55F-0790-7175-FF6E-777FF2A900CC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023" y="5872540"/>
            <a:ext cx="1889972" cy="886710"/>
          </a:xfrm>
          <a:prstGeom prst="rect">
            <a:avLst/>
          </a:prstGeom>
        </p:spPr>
      </p:pic>
      <p:sp>
        <p:nvSpPr>
          <p:cNvPr id="26" name="Freeform 23">
            <a:extLst>
              <a:ext uri="{FF2B5EF4-FFF2-40B4-BE49-F238E27FC236}">
                <a16:creationId xmlns:a16="http://schemas.microsoft.com/office/drawing/2014/main" id="{AE550962-E289-5DDA-2AB0-8CBF44084B7E}"/>
              </a:ext>
            </a:extLst>
          </p:cNvPr>
          <p:cNvSpPr/>
          <p:nvPr/>
        </p:nvSpPr>
        <p:spPr>
          <a:xfrm flipV="1">
            <a:off x="11688331" y="2293443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F497B51E-B23E-81E6-6EEC-C84EF82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46836" y="648780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12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0A25492-F368-5A21-5DC6-845AD3571FD6}"/>
              </a:ext>
            </a:extLst>
          </p:cNvPr>
          <p:cNvSpPr txBox="1">
            <a:spLocks/>
          </p:cNvSpPr>
          <p:nvPr/>
        </p:nvSpPr>
        <p:spPr>
          <a:xfrm>
            <a:off x="4995333" y="65440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418135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2" y="292622"/>
            <a:ext cx="7942035" cy="856844"/>
          </a:xfrm>
        </p:spPr>
        <p:txBody>
          <a:bodyPr>
            <a:noAutofit/>
          </a:bodyPr>
          <a:lstStyle/>
          <a:p>
            <a:r>
              <a:rPr lang="en-US" sz="4800" dirty="0">
                <a:latin typeface="Aptos"/>
                <a:ea typeface="Lato Medium"/>
                <a:cs typeface="Lato Medium"/>
              </a:rPr>
              <a:t>Laying the ESSI Foundation:</a:t>
            </a:r>
            <a:endParaRPr lang="en-US" sz="4800" dirty="0">
              <a:latin typeface="Apto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8011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7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17" name="Content Placeholder 2">
            <a:extLst>
              <a:ext uri="{FF2B5EF4-FFF2-40B4-BE49-F238E27FC236}">
                <a16:creationId xmlns:a16="http://schemas.microsoft.com/office/drawing/2014/main" id="{9B647FFD-DB92-0E72-0606-A89EC41A7F93}"/>
              </a:ext>
            </a:extLst>
          </p:cNvPr>
          <p:cNvGraphicFramePr/>
          <p:nvPr/>
        </p:nvGraphicFramePr>
        <p:xfrm>
          <a:off x="1680035" y="721044"/>
          <a:ext cx="8823816" cy="6002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78" name="TextBox 477">
            <a:extLst>
              <a:ext uri="{FF2B5EF4-FFF2-40B4-BE49-F238E27FC236}">
                <a16:creationId xmlns:a16="http://schemas.microsoft.com/office/drawing/2014/main" id="{C5C0F61E-2474-C729-4EEC-08ED72588579}"/>
              </a:ext>
            </a:extLst>
          </p:cNvPr>
          <p:cNvSpPr txBox="1"/>
          <p:nvPr/>
        </p:nvSpPr>
        <p:spPr>
          <a:xfrm>
            <a:off x="4983759" y="2810349"/>
            <a:ext cx="2784202" cy="584775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i="1">
                <a:solidFill>
                  <a:schemeClr val="accent4"/>
                </a:solidFill>
                <a:cs typeface="Calibri"/>
              </a:rPr>
              <a:t>200+ Participants! </a:t>
            </a:r>
            <a:endParaRPr lang="en-US" sz="1600">
              <a:solidFill>
                <a:schemeClr val="accent4"/>
              </a:solidFill>
            </a:endParaRPr>
          </a:p>
          <a:p>
            <a:r>
              <a:rPr lang="en-US" sz="1600" b="1" i="1">
                <a:solidFill>
                  <a:schemeClr val="accent4"/>
                </a:solidFill>
                <a:cs typeface="Calibri"/>
              </a:rPr>
              <a:t>70 Hospitals Represented</a:t>
            </a:r>
            <a:endParaRPr lang="en-US">
              <a:solidFill>
                <a:schemeClr val="accent4"/>
              </a:solidFill>
            </a:endParaRPr>
          </a:p>
        </p:txBody>
      </p:sp>
      <p:sp>
        <p:nvSpPr>
          <p:cNvPr id="513" name="TextBox 571">
            <a:extLst>
              <a:ext uri="{FF2B5EF4-FFF2-40B4-BE49-F238E27FC236}">
                <a16:creationId xmlns:a16="http://schemas.microsoft.com/office/drawing/2014/main" id="{6CB52F1F-2D33-EF6D-BCFA-FBCA995ED34A}"/>
              </a:ext>
            </a:extLst>
          </p:cNvPr>
          <p:cNvSpPr txBox="1"/>
          <p:nvPr/>
        </p:nvSpPr>
        <p:spPr>
          <a:xfrm>
            <a:off x="2227038" y="2812824"/>
            <a:ext cx="1996553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i="1">
                <a:solidFill>
                  <a:schemeClr val="accent2">
                    <a:lumMod val="75000"/>
                  </a:schemeClr>
                </a:solidFill>
                <a:ea typeface="Calibri"/>
                <a:cs typeface="Calibri"/>
              </a:rPr>
              <a:t>200 </a:t>
            </a:r>
            <a:r>
              <a:rPr lang="en-US" sz="2000" b="1" i="1">
                <a:solidFill>
                  <a:schemeClr val="accent2">
                    <a:lumMod val="75000"/>
                  </a:schemeClr>
                </a:solidFill>
                <a:ea typeface="Calibri"/>
                <a:cs typeface="Calibri"/>
              </a:rPr>
              <a:t>participants</a:t>
            </a:r>
            <a:r>
              <a:rPr lang="en-US" b="1" i="1">
                <a:solidFill>
                  <a:schemeClr val="accent2">
                    <a:lumMod val="75000"/>
                  </a:schemeClr>
                </a:solidFill>
                <a:ea typeface="Calibri"/>
                <a:cs typeface="Calibri"/>
              </a:rPr>
              <a:t>!</a:t>
            </a:r>
          </a:p>
        </p:txBody>
      </p:sp>
      <p:sp>
        <p:nvSpPr>
          <p:cNvPr id="515" name="TextBox 529">
            <a:extLst>
              <a:ext uri="{FF2B5EF4-FFF2-40B4-BE49-F238E27FC236}">
                <a16:creationId xmlns:a16="http://schemas.microsoft.com/office/drawing/2014/main" id="{68971380-50B6-60D3-9983-63824C9F76DC}"/>
              </a:ext>
            </a:extLst>
          </p:cNvPr>
          <p:cNvSpPr txBox="1"/>
          <p:nvPr/>
        </p:nvSpPr>
        <p:spPr>
          <a:xfrm>
            <a:off x="3678891" y="3840650"/>
            <a:ext cx="2031807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i="1">
                <a:solidFill>
                  <a:srgbClr val="FF9F05"/>
                </a:solidFill>
                <a:ea typeface="Calibri"/>
                <a:cs typeface="Calibri"/>
              </a:rPr>
              <a:t>177 participants!</a:t>
            </a:r>
          </a:p>
        </p:txBody>
      </p:sp>
      <p:sp>
        <p:nvSpPr>
          <p:cNvPr id="617" name="TextBox 616">
            <a:extLst>
              <a:ext uri="{FF2B5EF4-FFF2-40B4-BE49-F238E27FC236}">
                <a16:creationId xmlns:a16="http://schemas.microsoft.com/office/drawing/2014/main" id="{395ABDF1-C9A0-9CAB-F43E-1D14A5A68F3A}"/>
              </a:ext>
            </a:extLst>
          </p:cNvPr>
          <p:cNvSpPr txBox="1"/>
          <p:nvPr/>
        </p:nvSpPr>
        <p:spPr>
          <a:xfrm>
            <a:off x="6466005" y="3843747"/>
            <a:ext cx="2982531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i="1">
                <a:solidFill>
                  <a:srgbClr val="6B95FD"/>
                </a:solidFill>
                <a:cs typeface="Calibri"/>
              </a:rPr>
              <a:t>200+ Participants! </a:t>
            </a:r>
            <a:endParaRPr lang="en-US" sz="1600">
              <a:solidFill>
                <a:srgbClr val="6B95FD"/>
              </a:solidFill>
            </a:endParaRPr>
          </a:p>
          <a:p>
            <a:r>
              <a:rPr lang="en-US" sz="1600" b="1" i="1">
                <a:solidFill>
                  <a:srgbClr val="6B95FD"/>
                </a:solidFill>
                <a:cs typeface="Calibri"/>
              </a:rPr>
              <a:t>67 Hospitals Represented</a:t>
            </a:r>
          </a:p>
        </p:txBody>
      </p:sp>
    </p:spTree>
    <p:extLst>
      <p:ext uri="{BB962C8B-B14F-4D97-AF65-F5344CB8AC3E}">
        <p14:creationId xmlns:p14="http://schemas.microsoft.com/office/powerpoint/2010/main" val="10553110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844675"/>
            <a:ext cx="2805113" cy="1347788"/>
          </a:xfrm>
        </p:spPr>
        <p:txBody>
          <a:bodyPr/>
          <a:lstStyle/>
          <a:p>
            <a:pPr algn="ctr"/>
            <a:r>
              <a:rPr lang="en-US" sz="4000">
                <a:latin typeface="DM Sans"/>
                <a:ea typeface="Lato Medium"/>
                <a:cs typeface="Lato Medium"/>
              </a:rPr>
              <a:t>Key Driver Diagram</a:t>
            </a:r>
            <a:endParaRPr lang="en-US" sz="4000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04202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0556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</a:rPr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>
                <a:latin typeface="Calibri"/>
                <a:cs typeface="Calibri"/>
              </a:rPr>
              <a:t>By December 2025: </a:t>
            </a:r>
            <a:endParaRPr lang="en-US" sz="1500">
              <a:latin typeface="Calibri"/>
              <a:ea typeface="Calibri"/>
              <a:cs typeface="Calibri"/>
            </a:endParaRPr>
          </a:p>
          <a:p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latin typeface="Calibri"/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2. Greater than 80% of infants will be discharged from ILPQC hospitals with a completed ESSI bundle. </a:t>
            </a:r>
            <a:r>
              <a:rPr lang="en-US" sz="1500"/>
              <a:t>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dirty="0">
                <a:latin typeface="Calibri"/>
                <a:cs typeface="Calibri"/>
              </a:rPr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dirty="0">
                <a:latin typeface="Calibri"/>
                <a:cs typeface="Calibri"/>
              </a:rPr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Parent and Caregiver Empowerment</a:t>
            </a:r>
            <a:endParaRPr lang="en-US" sz="1600">
              <a:latin typeface="Calibri"/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Community </a:t>
            </a:r>
            <a:r>
              <a:rPr lang="en-US" sz="160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600">
                <a:solidFill>
                  <a:schemeClr val="tx1"/>
                </a:solidFill>
                <a:latin typeface="Calibri"/>
                <a:cs typeface="Calibri"/>
              </a:rPr>
              <a:t>Partnerships</a:t>
            </a:r>
            <a:endParaRPr lang="en-US" sz="16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"/>
                <a:cs typeface="Calibri"/>
              </a:rPr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"/>
                <a:cs typeface="Calibri"/>
              </a:rPr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Parent and Caregiver Experience Prioritization</a:t>
            </a:r>
            <a:endParaRPr lang="en-US" sz="1400" err="1">
              <a:latin typeface="Calibri"/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pectful Parent and Caregiver Partnerships</a:t>
            </a:r>
            <a:endParaRPr lang="en-US" sz="1400">
              <a:solidFill>
                <a:srgbClr val="FF0000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Aware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  <a:latin typeface="Calibri"/>
                <a:cs typeface="Calibri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Dissemination of Stratified Data</a:t>
            </a:r>
            <a:endParaRPr lang="en-US" sz="14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Application of Data to Address Inequities</a:t>
            </a:r>
            <a:endParaRPr lang="en-US" sz="1400">
              <a:latin typeface="Calibri"/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Awareness</a:t>
            </a:r>
            <a:r>
              <a:rPr lang="en-US" sz="1400">
                <a:latin typeface="Calibri"/>
                <a:cs typeface="Calibri"/>
              </a:rPr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Readiness</a:t>
            </a:r>
            <a:r>
              <a:rPr lang="en-US" sz="1400">
                <a:latin typeface="Calibri"/>
                <a:cs typeface="Calibri"/>
              </a:rPr>
              <a:t>: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Transfer of Care</a:t>
            </a:r>
            <a:r>
              <a:rPr lang="en-US" sz="1400">
                <a:latin typeface="Calibri"/>
                <a:cs typeface="Calibri"/>
              </a:rPr>
              <a:t>: ESSI Newborn Care Plan (Awareness &amp; Readiness) documented in the discharge 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685985" y="663010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250606" y="467148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dirty="0">
                <a:cs typeface="Calibri"/>
              </a:rPr>
              <a:t>1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0975224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50BA9AC-82B0-3C59-D57C-6D6DE31B05AB}"/>
              </a:ext>
            </a:extLst>
          </p:cNvPr>
          <p:cNvSpPr/>
          <p:nvPr/>
        </p:nvSpPr>
        <p:spPr>
          <a:xfrm>
            <a:off x="6940176" y="0"/>
            <a:ext cx="5334000" cy="191247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358" y="244000"/>
            <a:ext cx="11697284" cy="6370000"/>
          </a:xfrm>
          <a:custGeom>
            <a:avLst/>
            <a:gdLst/>
            <a:ahLst/>
            <a:cxnLst/>
            <a:rect l="l" t="t" r="r" b="b"/>
            <a:pathLst>
              <a:path w="17545926" h="9555000">
                <a:moveTo>
                  <a:pt x="0" y="0"/>
                </a:moveTo>
                <a:lnTo>
                  <a:pt x="17545926" y="0"/>
                </a:lnTo>
                <a:lnTo>
                  <a:pt x="1754592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Freeform 3"/>
          <p:cNvSpPr/>
          <p:nvPr/>
        </p:nvSpPr>
        <p:spPr>
          <a:xfrm>
            <a:off x="7337866" y="3907936"/>
            <a:ext cx="1620617" cy="1741453"/>
          </a:xfrm>
          <a:custGeom>
            <a:avLst/>
            <a:gdLst/>
            <a:ahLst/>
            <a:cxnLst/>
            <a:rect l="l" t="t" r="r" b="b"/>
            <a:pathLst>
              <a:path w="2430926" h="2612180">
                <a:moveTo>
                  <a:pt x="0" y="0"/>
                </a:moveTo>
                <a:lnTo>
                  <a:pt x="2430926" y="0"/>
                </a:lnTo>
                <a:lnTo>
                  <a:pt x="2430926" y="2612180"/>
                </a:lnTo>
                <a:lnTo>
                  <a:pt x="0" y="261218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4" name="Freeform 4"/>
          <p:cNvSpPr/>
          <p:nvPr/>
        </p:nvSpPr>
        <p:spPr>
          <a:xfrm>
            <a:off x="7657909" y="1999007"/>
            <a:ext cx="3898851" cy="2163620"/>
          </a:xfrm>
          <a:custGeom>
            <a:avLst/>
            <a:gdLst/>
            <a:ahLst/>
            <a:cxnLst/>
            <a:rect l="l" t="t" r="r" b="b"/>
            <a:pathLst>
              <a:path w="5848276" h="3245430">
                <a:moveTo>
                  <a:pt x="0" y="0"/>
                </a:moveTo>
                <a:lnTo>
                  <a:pt x="5848276" y="0"/>
                </a:lnTo>
                <a:lnTo>
                  <a:pt x="5848276" y="3245430"/>
                </a:lnTo>
                <a:lnTo>
                  <a:pt x="0" y="3245430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grpSp>
        <p:nvGrpSpPr>
          <p:cNvPr id="5" name="Group 5"/>
          <p:cNvGrpSpPr/>
          <p:nvPr/>
        </p:nvGrpSpPr>
        <p:grpSpPr>
          <a:xfrm>
            <a:off x="7785378" y="2076808"/>
            <a:ext cx="93754" cy="92709"/>
            <a:chOff x="0" y="0"/>
            <a:chExt cx="187508" cy="185418"/>
          </a:xfrm>
        </p:grpSpPr>
        <p:sp>
          <p:nvSpPr>
            <p:cNvPr id="6" name="Freeform 6"/>
            <p:cNvSpPr/>
            <p:nvPr/>
          </p:nvSpPr>
          <p:spPr>
            <a:xfrm>
              <a:off x="254" y="0"/>
              <a:ext cx="186944" cy="185166"/>
            </a:xfrm>
            <a:custGeom>
              <a:avLst/>
              <a:gdLst/>
              <a:ahLst/>
              <a:cxnLst/>
              <a:rect l="l" t="t" r="r" b="b"/>
              <a:pathLst>
                <a:path w="186944" h="185166">
                  <a:moveTo>
                    <a:pt x="94361" y="0"/>
                  </a:moveTo>
                  <a:cubicBezTo>
                    <a:pt x="43053" y="0"/>
                    <a:pt x="0" y="41148"/>
                    <a:pt x="0" y="92583"/>
                  </a:cubicBezTo>
                  <a:cubicBezTo>
                    <a:pt x="0" y="144018"/>
                    <a:pt x="43053" y="185166"/>
                    <a:pt x="94361" y="185166"/>
                  </a:cubicBezTo>
                  <a:cubicBezTo>
                    <a:pt x="146050" y="185166"/>
                    <a:pt x="186944" y="144018"/>
                    <a:pt x="186944" y="92583"/>
                  </a:cubicBezTo>
                  <a:cubicBezTo>
                    <a:pt x="186944" y="41148"/>
                    <a:pt x="146050" y="0"/>
                    <a:pt x="94361" y="0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7" name="Freeform 7"/>
          <p:cNvSpPr/>
          <p:nvPr/>
        </p:nvSpPr>
        <p:spPr>
          <a:xfrm>
            <a:off x="9108633" y="4383287"/>
            <a:ext cx="1139839" cy="1071426"/>
          </a:xfrm>
          <a:custGeom>
            <a:avLst/>
            <a:gdLst/>
            <a:ahLst/>
            <a:cxnLst/>
            <a:rect l="l" t="t" r="r" b="b"/>
            <a:pathLst>
              <a:path w="1709758" h="1607139">
                <a:moveTo>
                  <a:pt x="0" y="0"/>
                </a:moveTo>
                <a:lnTo>
                  <a:pt x="1709758" y="0"/>
                </a:lnTo>
                <a:lnTo>
                  <a:pt x="1709758" y="1607139"/>
                </a:lnTo>
                <a:lnTo>
                  <a:pt x="0" y="1607139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8" name="Freeform 8"/>
          <p:cNvSpPr/>
          <p:nvPr/>
        </p:nvSpPr>
        <p:spPr>
          <a:xfrm>
            <a:off x="403879" y="5649390"/>
            <a:ext cx="1541635" cy="774243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9" name="TextBox 9"/>
          <p:cNvSpPr txBox="1"/>
          <p:nvPr/>
        </p:nvSpPr>
        <p:spPr>
          <a:xfrm>
            <a:off x="403879" y="1647338"/>
            <a:ext cx="7100688" cy="208178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8159"/>
              </a:lnSpc>
            </a:pPr>
            <a:r>
              <a:rPr lang="en-US" sz="6800" b="1" dirty="0">
                <a:solidFill>
                  <a:srgbClr val="243686"/>
                </a:solidFill>
                <a:latin typeface="Aptos Display"/>
              </a:rPr>
              <a:t>What have we built so far?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9615059" y="2470926"/>
            <a:ext cx="274294" cy="2821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239"/>
              </a:lnSpc>
            </a:pPr>
            <a:r>
              <a:rPr lang="en-US" sz="1866">
                <a:solidFill>
                  <a:srgbClr val="243686"/>
                </a:solidFill>
                <a:latin typeface="Roboto Bold"/>
              </a:rPr>
              <a:t>A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10109548" y="2600302"/>
            <a:ext cx="274294" cy="2821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239"/>
              </a:lnSpc>
            </a:pPr>
            <a:r>
              <a:rPr lang="en-US" sz="1866">
                <a:solidFill>
                  <a:srgbClr val="243686"/>
                </a:solidFill>
                <a:latin typeface="Roboto Bold"/>
              </a:rPr>
              <a:t>B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10564266" y="2731384"/>
            <a:ext cx="274294" cy="2821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239"/>
              </a:lnSpc>
            </a:pPr>
            <a:r>
              <a:rPr lang="en-US" sz="1866">
                <a:solidFill>
                  <a:srgbClr val="243686"/>
                </a:solidFill>
                <a:latin typeface="Roboto Bold"/>
              </a:rPr>
              <a:t>C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10991902" y="2443222"/>
            <a:ext cx="274294" cy="2821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239"/>
              </a:lnSpc>
            </a:pPr>
            <a:r>
              <a:rPr lang="en-US" sz="1866">
                <a:solidFill>
                  <a:srgbClr val="243686"/>
                </a:solidFill>
                <a:latin typeface="Roboto Bold"/>
              </a:rPr>
              <a:t>D</a:t>
            </a: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6DDDAD1A-4EAA-38F0-A425-A579759F31B5}"/>
              </a:ext>
            </a:extLst>
          </p:cNvPr>
          <p:cNvSpPr txBox="1"/>
          <p:nvPr/>
        </p:nvSpPr>
        <p:spPr>
          <a:xfrm>
            <a:off x="643372" y="3878106"/>
            <a:ext cx="4307919" cy="208178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8160"/>
              </a:lnSpc>
            </a:pPr>
            <a:r>
              <a:rPr lang="en-US" sz="2500" b="1" i="1" dirty="0">
                <a:solidFill>
                  <a:srgbClr val="243686"/>
                </a:solidFill>
                <a:latin typeface="Aptos Display"/>
              </a:rPr>
              <a:t>73 Teams Submitted Data!</a:t>
            </a:r>
          </a:p>
          <a:p>
            <a:pPr algn="l">
              <a:lnSpc>
                <a:spcPts val="8159"/>
              </a:lnSpc>
            </a:pPr>
            <a:endParaRPr lang="en-US" sz="6800" b="1" i="1" dirty="0">
              <a:solidFill>
                <a:srgbClr val="243686"/>
              </a:solidFill>
              <a:latin typeface="Aptos Display"/>
            </a:endParaRPr>
          </a:p>
        </p:txBody>
      </p:sp>
      <p:pic>
        <p:nvPicPr>
          <p:cNvPr id="17" name="Picture 16" descr="Colorful confetti and stars on a black background&#10;&#10;Description automatically generated">
            <a:extLst>
              <a:ext uri="{FF2B5EF4-FFF2-40B4-BE49-F238E27FC236}">
                <a16:creationId xmlns:a16="http://schemas.microsoft.com/office/drawing/2014/main" id="{EDB29250-E90C-A6B7-D345-C73084B22A39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4654" y="3729126"/>
            <a:ext cx="2464548" cy="1815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4557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2271</Words>
  <Application>Microsoft Macintosh PowerPoint</Application>
  <PresentationFormat>Widescreen</PresentationFormat>
  <Paragraphs>507</Paragraphs>
  <Slides>47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1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70" baseType="lpstr">
      <vt:lpstr>Kollektif Bold</vt:lpstr>
      <vt:lpstr>Calibri</vt:lpstr>
      <vt:lpstr>Wingdings</vt:lpstr>
      <vt:lpstr>Aptos</vt:lpstr>
      <vt:lpstr>Canva Sans 2 Bold</vt:lpstr>
      <vt:lpstr>Times New Roman</vt:lpstr>
      <vt:lpstr>Arial</vt:lpstr>
      <vt:lpstr>Helvetica Neue Medium</vt:lpstr>
      <vt:lpstr>Etna Sans Serif</vt:lpstr>
      <vt:lpstr>Verdana</vt:lpstr>
      <vt:lpstr>aptos displ</vt:lpstr>
      <vt:lpstr>Canva Sans Bold</vt:lpstr>
      <vt:lpstr>Dreaming Outloud Script Pro</vt:lpstr>
      <vt:lpstr>Helvetica Neue</vt:lpstr>
      <vt:lpstr>Aptos Display</vt:lpstr>
      <vt:lpstr>Play</vt:lpstr>
      <vt:lpstr>Noto Sans Symbols</vt:lpstr>
      <vt:lpstr>Roboto Bold</vt:lpstr>
      <vt:lpstr>DM Sans</vt:lpstr>
      <vt:lpstr>3_Office Theme</vt:lpstr>
      <vt:lpstr>1_Office Theme</vt:lpstr>
      <vt:lpstr>office theme</vt:lpstr>
      <vt:lpstr>think-cell Slide</vt:lpstr>
      <vt:lpstr>We've Launched!  </vt:lpstr>
      <vt:lpstr>Equity and Safe Sleep in Infants</vt:lpstr>
      <vt:lpstr>ESSI Vision</vt:lpstr>
      <vt:lpstr>Thank you ESSI Hospital Teams!</vt:lpstr>
      <vt:lpstr>ESSI Initiative Aims</vt:lpstr>
      <vt:lpstr>PowerPoint Presentation</vt:lpstr>
      <vt:lpstr>Laying the ESSI Foundation:</vt:lpstr>
      <vt:lpstr>Key Driver Diagra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etting to GREEN: Safe Sleep Environment Education </vt:lpstr>
      <vt:lpstr>PowerPoint Presentation</vt:lpstr>
      <vt:lpstr>PowerPoint Presentation</vt:lpstr>
      <vt:lpstr>PowerPoint Presentation</vt:lpstr>
      <vt:lpstr>What are we doing today?  Face-to-Face 2024 Objectives</vt:lpstr>
      <vt:lpstr>PowerPoint Presentation</vt:lpstr>
      <vt:lpstr>PowerPoint Presentation</vt:lpstr>
      <vt:lpstr>Key Driver Diagram</vt:lpstr>
      <vt:lpstr>ESSI Bundle</vt:lpstr>
      <vt:lpstr>PowerPoint Presentation</vt:lpstr>
      <vt:lpstr>PowerPoint Presentation</vt:lpstr>
      <vt:lpstr>PowerPoint Presentation</vt:lpstr>
      <vt:lpstr>Equity and Safe Sleep in Infa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spectful Care Practices</vt:lpstr>
      <vt:lpstr>Respectful Care Practices</vt:lpstr>
      <vt:lpstr>PowerPoint Presentation</vt:lpstr>
      <vt:lpstr>Key Driver Diagra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SSI Launch Award Criteria</vt:lpstr>
      <vt:lpstr>ESSI Launch Award Hospitals</vt:lpstr>
      <vt:lpstr>ESSI Launch Award Hospital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lebration of a  Successful BASIC Initiative  </dc:title>
  <dc:creator>Todd Hilgert</dc:creator>
  <cp:lastModifiedBy>Kiela Karina Moreno</cp:lastModifiedBy>
  <cp:revision>291</cp:revision>
  <dcterms:created xsi:type="dcterms:W3CDTF">2021-03-16T18:30:39Z</dcterms:created>
  <dcterms:modified xsi:type="dcterms:W3CDTF">2024-05-28T23:43:10Z</dcterms:modified>
</cp:coreProperties>
</file>